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10"/>
  </p:notesMasterIdLst>
  <p:sldIdLst>
    <p:sldId id="2132739090" r:id="rId5"/>
    <p:sldId id="2132739091" r:id="rId6"/>
    <p:sldId id="2132739092" r:id="rId7"/>
    <p:sldId id="2132739093" r:id="rId8"/>
    <p:sldId id="2132739094" r:id="rId9"/>
  </p:sldIdLst>
  <p:sldSz cx="12192000" cy="6858000"/>
  <p:notesSz cx="6858000" cy="9144000"/>
  <p:custDataLst>
    <p:tags r:id="rId11"/>
  </p:custDataLst>
  <p:defaultTextStyle>
    <a:defPPr>
      <a:defRPr lang="ja-JP"/>
    </a:defPPr>
    <a:lvl1pPr marL="0" algn="l" defTabSz="914314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1pPr>
    <a:lvl2pPr marL="457156" algn="l" defTabSz="914314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2pPr>
    <a:lvl3pPr marL="914314" algn="l" defTabSz="914314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3pPr>
    <a:lvl4pPr marL="1371471" algn="l" defTabSz="914314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4pPr>
    <a:lvl5pPr marL="1828628" algn="l" defTabSz="914314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5pPr>
    <a:lvl6pPr marL="2285784" algn="l" defTabSz="914314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6pPr>
    <a:lvl7pPr marL="2742940" algn="l" defTabSz="914314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7pPr>
    <a:lvl8pPr marL="3200098" algn="l" defTabSz="914314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8pPr>
    <a:lvl9pPr marL="3657255" algn="l" defTabSz="914314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エントリーシート_越境コミュニティの部" id="{212BDC60-48F6-4363-BD1D-62A2E32A30A2}">
          <p14:sldIdLst>
            <p14:sldId id="2132739090"/>
            <p14:sldId id="2132739091"/>
            <p14:sldId id="2132739092"/>
            <p14:sldId id="2132739093"/>
            <p14:sldId id="2132739094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  <p15:guide id="3" pos="166" userDrawn="1">
          <p15:clr>
            <a:srgbClr val="F26B43"/>
          </p15:clr>
        </p15:guide>
        <p15:guide id="4" orient="horz" pos="4201" userDrawn="1">
          <p15:clr>
            <a:srgbClr val="F26B43"/>
          </p15:clr>
        </p15:guide>
        <p15:guide id="5" pos="7514" userDrawn="1">
          <p15:clr>
            <a:srgbClr val="F26B43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D9D9D9"/>
    <a:srgbClr val="7F7F7F"/>
    <a:srgbClr val="58C9D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間スタイル 2 - アクセント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スタイル (中間)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F5AB1C69-6EDB-4FF4-983F-18BD219EF322}" styleName="中間スタイル 2 - アクセント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9D7B26C5-4107-4FEC-AEDC-1716B250A1EF}" styleName="スタイル (淡色)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420" autoAdjust="0"/>
    <p:restoredTop sz="96856" autoAdjust="0"/>
  </p:normalViewPr>
  <p:slideViewPr>
    <p:cSldViewPr snapToGrid="0">
      <p:cViewPr varScale="1">
        <p:scale>
          <a:sx n="124" d="100"/>
          <a:sy n="124" d="100"/>
        </p:scale>
        <p:origin x="102" y="282"/>
      </p:cViewPr>
      <p:guideLst>
        <p:guide orient="horz" pos="2160"/>
        <p:guide pos="3840"/>
        <p:guide pos="166"/>
        <p:guide orient="horz" pos="4201"/>
        <p:guide pos="7514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microsoft.com/office/2016/11/relationships/changesInfo" Target="changesInfos/changesInfo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tags" Target="tags/tag1.xml"/><Relationship Id="rId5" Type="http://schemas.openxmlformats.org/officeDocument/2006/relationships/slide" Target="slides/slide1.xml"/><Relationship Id="rId15" Type="http://schemas.openxmlformats.org/officeDocument/2006/relationships/tableStyles" Target="tableStyles.xml"/><Relationship Id="rId10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飯塚 勤 Tsutomu Iizuka" userId="350afaef-1690-4eec-b4fd-feb567f0fe7f" providerId="ADAL" clId="{C4B123B0-EA6A-4839-864F-16623E7E9380}"/>
    <pc:docChg chg="delSld delSection modSection">
      <pc:chgData name="飯塚 勤 Tsutomu Iizuka" userId="350afaef-1690-4eec-b4fd-feb567f0fe7f" providerId="ADAL" clId="{C4B123B0-EA6A-4839-864F-16623E7E9380}" dt="2024-12-05T10:06:45.399" v="0" actId="47"/>
      <pc:docMkLst>
        <pc:docMk/>
      </pc:docMkLst>
      <pc:sldChg chg="del">
        <pc:chgData name="飯塚 勤 Tsutomu Iizuka" userId="350afaef-1690-4eec-b4fd-feb567f0fe7f" providerId="ADAL" clId="{C4B123B0-EA6A-4839-864F-16623E7E9380}" dt="2024-12-05T10:06:45.399" v="0" actId="47"/>
        <pc:sldMkLst>
          <pc:docMk/>
          <pc:sldMk cId="223312562" sldId="12507"/>
        </pc:sldMkLst>
      </pc:sldChg>
      <pc:sldChg chg="del">
        <pc:chgData name="飯塚 勤 Tsutomu Iizuka" userId="350afaef-1690-4eec-b4fd-feb567f0fe7f" providerId="ADAL" clId="{C4B123B0-EA6A-4839-864F-16623E7E9380}" dt="2024-12-05T10:06:45.399" v="0" actId="47"/>
        <pc:sldMkLst>
          <pc:docMk/>
          <pc:sldMk cId="102019864" sldId="12509"/>
        </pc:sldMkLst>
      </pc:sldChg>
      <pc:sldChg chg="del">
        <pc:chgData name="飯塚 勤 Tsutomu Iizuka" userId="350afaef-1690-4eec-b4fd-feb567f0fe7f" providerId="ADAL" clId="{C4B123B0-EA6A-4839-864F-16623E7E9380}" dt="2024-12-05T10:06:45.399" v="0" actId="47"/>
        <pc:sldMkLst>
          <pc:docMk/>
          <pc:sldMk cId="2972009411" sldId="12510"/>
        </pc:sldMkLst>
      </pc:sldChg>
      <pc:sldChg chg="del">
        <pc:chgData name="飯塚 勤 Tsutomu Iizuka" userId="350afaef-1690-4eec-b4fd-feb567f0fe7f" providerId="ADAL" clId="{C4B123B0-EA6A-4839-864F-16623E7E9380}" dt="2024-12-05T10:06:45.399" v="0" actId="47"/>
        <pc:sldMkLst>
          <pc:docMk/>
          <pc:sldMk cId="3067802723" sldId="12511"/>
        </pc:sldMkLst>
      </pc:sldChg>
      <pc:sldChg chg="del">
        <pc:chgData name="飯塚 勤 Tsutomu Iizuka" userId="350afaef-1690-4eec-b4fd-feb567f0fe7f" providerId="ADAL" clId="{C4B123B0-EA6A-4839-864F-16623E7E9380}" dt="2024-12-05T10:06:45.399" v="0" actId="47"/>
        <pc:sldMkLst>
          <pc:docMk/>
          <pc:sldMk cId="3198688934" sldId="12515"/>
        </pc:sldMkLst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5D90993-0F22-40E6-B871-66CDD0D9B4E4}" type="datetimeFigureOut">
              <a:rPr kumimoji="1" lang="ja-JP" altLang="en-US" smtClean="0"/>
              <a:t>2024/12/5</a:t>
            </a:fld>
            <a:endParaRPr kumimoji="1" lang="ja-JP" altLang="en-US"/>
          </a:p>
        </p:txBody>
      </p:sp>
      <p:sp>
        <p:nvSpPr>
          <p:cNvPr id="4" name="スライド イメージ プレースホルダー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ja-JP" altLang="en-US"/>
          </a:p>
        </p:txBody>
      </p:sp>
      <p:sp>
        <p:nvSpPr>
          <p:cNvPr id="5" name="ノート プレースホルダー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0F0C95B-A064-4667-A699-44B9F17020DB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9744353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314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1pPr>
    <a:lvl2pPr marL="457156" algn="l" defTabSz="914314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2pPr>
    <a:lvl3pPr marL="914314" algn="l" defTabSz="914314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3pPr>
    <a:lvl4pPr marL="1371471" algn="l" defTabSz="914314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4pPr>
    <a:lvl5pPr marL="1828628" algn="l" defTabSz="914314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5pPr>
    <a:lvl6pPr marL="2285784" algn="l" defTabSz="914314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6pPr>
    <a:lvl7pPr marL="2742940" algn="l" defTabSz="914314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7pPr>
    <a:lvl8pPr marL="3200098" algn="l" defTabSz="914314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8pPr>
    <a:lvl9pPr marL="3657255" algn="l" defTabSz="914314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366D748-172B-4F47-B0FF-5F69D7758614}" type="slidenum">
              <a:rPr kumimoji="1" lang="ja-JP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游ゴシック" panose="020F0502020204030204"/>
                <a:ea typeface="游ゴシック" panose="020B0400000000000000" pitchFamily="50" charset="-128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1" lang="ja-JP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游ゴシック" panose="020F0502020204030204"/>
              <a:ea typeface="游ゴシック" panose="020B0400000000000000" pitchFamily="50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2417433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366D748-172B-4F47-B0FF-5F69D7758614}" type="slidenum">
              <a:rPr kumimoji="1" lang="ja-JP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游ゴシック" panose="020F0502020204030204"/>
                <a:ea typeface="游ゴシック" panose="020B0400000000000000" pitchFamily="50" charset="-128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1" lang="ja-JP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游ゴシック" panose="020F0502020204030204"/>
              <a:ea typeface="游ゴシック" panose="020B0400000000000000" pitchFamily="50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345645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366D748-172B-4F47-B0FF-5F69D7758614}" type="slidenum">
              <a:rPr kumimoji="1" lang="ja-JP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游ゴシック" panose="020F0502020204030204"/>
                <a:ea typeface="游ゴシック" panose="020B0400000000000000" pitchFamily="50" charset="-128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1" lang="ja-JP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游ゴシック" panose="020F0502020204030204"/>
              <a:ea typeface="游ゴシック" panose="020B0400000000000000" pitchFamily="50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0488675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366D748-172B-4F47-B0FF-5F69D7758614}" type="slidenum">
              <a:rPr kumimoji="1" lang="ja-JP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游ゴシック" panose="020F0502020204030204"/>
                <a:ea typeface="游ゴシック" panose="020B0400000000000000" pitchFamily="50" charset="-128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1" lang="ja-JP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游ゴシック" panose="020F0502020204030204"/>
              <a:ea typeface="游ゴシック" panose="020B0400000000000000" pitchFamily="50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4591166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366D748-172B-4F47-B0FF-5F69D7758614}" type="slidenum">
              <a:rPr kumimoji="1" lang="ja-JP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游ゴシック" panose="020F0502020204030204"/>
                <a:ea typeface="游ゴシック" panose="020B0400000000000000" pitchFamily="50" charset="-128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1" lang="ja-JP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游ゴシック" panose="020F0502020204030204"/>
              <a:ea typeface="游ゴシック" panose="020B0400000000000000" pitchFamily="50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6959312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13" Type="http://schemas.openxmlformats.org/officeDocument/2006/relationships/image" Target="../media/image10.png"/><Relationship Id="rId18" Type="http://schemas.openxmlformats.org/officeDocument/2006/relationships/image" Target="../media/image15.png"/><Relationship Id="rId3" Type="http://schemas.openxmlformats.org/officeDocument/2006/relationships/oleObject" Target="../embeddings/oleObject2.bin"/><Relationship Id="rId21" Type="http://schemas.openxmlformats.org/officeDocument/2006/relationships/image" Target="../media/image18.png"/><Relationship Id="rId7" Type="http://schemas.openxmlformats.org/officeDocument/2006/relationships/image" Target="../media/image4.png"/><Relationship Id="rId12" Type="http://schemas.openxmlformats.org/officeDocument/2006/relationships/image" Target="../media/image9.png"/><Relationship Id="rId17" Type="http://schemas.openxmlformats.org/officeDocument/2006/relationships/image" Target="../media/image14.png"/><Relationship Id="rId2" Type="http://schemas.openxmlformats.org/officeDocument/2006/relationships/slideMaster" Target="../slideMasters/slideMaster1.xml"/><Relationship Id="rId16" Type="http://schemas.openxmlformats.org/officeDocument/2006/relationships/image" Target="../media/image13.png"/><Relationship Id="rId20" Type="http://schemas.openxmlformats.org/officeDocument/2006/relationships/image" Target="../media/image17.png"/><Relationship Id="rId1" Type="http://schemas.openxmlformats.org/officeDocument/2006/relationships/tags" Target="../tags/tag3.xml"/><Relationship Id="rId6" Type="http://schemas.openxmlformats.org/officeDocument/2006/relationships/image" Target="../media/image3.png"/><Relationship Id="rId11" Type="http://schemas.openxmlformats.org/officeDocument/2006/relationships/image" Target="../media/image8.png"/><Relationship Id="rId5" Type="http://schemas.openxmlformats.org/officeDocument/2006/relationships/image" Target="../media/image2.png"/><Relationship Id="rId15" Type="http://schemas.openxmlformats.org/officeDocument/2006/relationships/image" Target="../media/image12.png"/><Relationship Id="rId10" Type="http://schemas.openxmlformats.org/officeDocument/2006/relationships/image" Target="../media/image7.png"/><Relationship Id="rId19" Type="http://schemas.openxmlformats.org/officeDocument/2006/relationships/image" Target="../media/image16.png"/><Relationship Id="rId4" Type="http://schemas.openxmlformats.org/officeDocument/2006/relationships/image" Target="../media/image1.emf"/><Relationship Id="rId9" Type="http://schemas.openxmlformats.org/officeDocument/2006/relationships/image" Target="../media/image6.png"/><Relationship Id="rId14" Type="http://schemas.openxmlformats.org/officeDocument/2006/relationships/image" Target="../media/image11.png"/><Relationship Id="rId22" Type="http://schemas.openxmlformats.org/officeDocument/2006/relationships/image" Target="../media/image19.png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13" Type="http://schemas.openxmlformats.org/officeDocument/2006/relationships/image" Target="../media/image13.png"/><Relationship Id="rId18" Type="http://schemas.openxmlformats.org/officeDocument/2006/relationships/image" Target="../media/image18.png"/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12" Type="http://schemas.openxmlformats.org/officeDocument/2006/relationships/image" Target="../media/image12.png"/><Relationship Id="rId17" Type="http://schemas.openxmlformats.org/officeDocument/2006/relationships/image" Target="../media/image17.png"/><Relationship Id="rId2" Type="http://schemas.openxmlformats.org/officeDocument/2006/relationships/image" Target="../media/image2.png"/><Relationship Id="rId16" Type="http://schemas.openxmlformats.org/officeDocument/2006/relationships/image" Target="../media/image1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11" Type="http://schemas.openxmlformats.org/officeDocument/2006/relationships/image" Target="../media/image11.png"/><Relationship Id="rId5" Type="http://schemas.openxmlformats.org/officeDocument/2006/relationships/image" Target="../media/image5.png"/><Relationship Id="rId15" Type="http://schemas.openxmlformats.org/officeDocument/2006/relationships/image" Target="../media/image15.png"/><Relationship Id="rId10" Type="http://schemas.openxmlformats.org/officeDocument/2006/relationships/image" Target="../media/image10.png"/><Relationship Id="rId19" Type="http://schemas.openxmlformats.org/officeDocument/2006/relationships/image" Target="../media/image19.png"/><Relationship Id="rId4" Type="http://schemas.openxmlformats.org/officeDocument/2006/relationships/image" Target="../media/image4.png"/><Relationship Id="rId9" Type="http://schemas.openxmlformats.org/officeDocument/2006/relationships/image" Target="../media/image9.png"/><Relationship Id="rId14" Type="http://schemas.openxmlformats.org/officeDocument/2006/relationships/image" Target="../media/image14.png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13" Type="http://schemas.openxmlformats.org/officeDocument/2006/relationships/image" Target="../media/image13.png"/><Relationship Id="rId18" Type="http://schemas.openxmlformats.org/officeDocument/2006/relationships/image" Target="../media/image18.png"/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12" Type="http://schemas.openxmlformats.org/officeDocument/2006/relationships/image" Target="../media/image12.png"/><Relationship Id="rId17" Type="http://schemas.openxmlformats.org/officeDocument/2006/relationships/image" Target="../media/image17.png"/><Relationship Id="rId2" Type="http://schemas.openxmlformats.org/officeDocument/2006/relationships/image" Target="../media/image2.png"/><Relationship Id="rId16" Type="http://schemas.openxmlformats.org/officeDocument/2006/relationships/image" Target="../media/image1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11" Type="http://schemas.openxmlformats.org/officeDocument/2006/relationships/image" Target="../media/image11.png"/><Relationship Id="rId5" Type="http://schemas.openxmlformats.org/officeDocument/2006/relationships/image" Target="../media/image5.png"/><Relationship Id="rId15" Type="http://schemas.openxmlformats.org/officeDocument/2006/relationships/image" Target="../media/image15.png"/><Relationship Id="rId10" Type="http://schemas.openxmlformats.org/officeDocument/2006/relationships/image" Target="../media/image10.png"/><Relationship Id="rId19" Type="http://schemas.openxmlformats.org/officeDocument/2006/relationships/image" Target="../media/image19.png"/><Relationship Id="rId4" Type="http://schemas.openxmlformats.org/officeDocument/2006/relationships/image" Target="../media/image4.png"/><Relationship Id="rId9" Type="http://schemas.openxmlformats.org/officeDocument/2006/relationships/image" Target="../media/image9.png"/><Relationship Id="rId14" Type="http://schemas.openxmlformats.org/officeDocument/2006/relationships/image" Target="../media/image14.png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13" Type="http://schemas.openxmlformats.org/officeDocument/2006/relationships/image" Target="../media/image13.png"/><Relationship Id="rId18" Type="http://schemas.openxmlformats.org/officeDocument/2006/relationships/image" Target="../media/image18.png"/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12" Type="http://schemas.openxmlformats.org/officeDocument/2006/relationships/image" Target="../media/image12.png"/><Relationship Id="rId17" Type="http://schemas.openxmlformats.org/officeDocument/2006/relationships/image" Target="../media/image17.png"/><Relationship Id="rId2" Type="http://schemas.openxmlformats.org/officeDocument/2006/relationships/image" Target="../media/image2.png"/><Relationship Id="rId16" Type="http://schemas.openxmlformats.org/officeDocument/2006/relationships/image" Target="../media/image1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11" Type="http://schemas.openxmlformats.org/officeDocument/2006/relationships/image" Target="../media/image11.png"/><Relationship Id="rId5" Type="http://schemas.openxmlformats.org/officeDocument/2006/relationships/image" Target="../media/image5.png"/><Relationship Id="rId15" Type="http://schemas.openxmlformats.org/officeDocument/2006/relationships/image" Target="../media/image15.png"/><Relationship Id="rId10" Type="http://schemas.openxmlformats.org/officeDocument/2006/relationships/image" Target="../media/image10.png"/><Relationship Id="rId19" Type="http://schemas.openxmlformats.org/officeDocument/2006/relationships/image" Target="../media/image19.png"/><Relationship Id="rId4" Type="http://schemas.openxmlformats.org/officeDocument/2006/relationships/image" Target="../media/image4.png"/><Relationship Id="rId9" Type="http://schemas.openxmlformats.org/officeDocument/2006/relationships/image" Target="../media/image9.png"/><Relationship Id="rId14" Type="http://schemas.openxmlformats.org/officeDocument/2006/relationships/image" Target="../media/image14.png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13" Type="http://schemas.openxmlformats.org/officeDocument/2006/relationships/image" Target="../media/image13.png"/><Relationship Id="rId18" Type="http://schemas.openxmlformats.org/officeDocument/2006/relationships/image" Target="../media/image18.png"/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12" Type="http://schemas.openxmlformats.org/officeDocument/2006/relationships/image" Target="../media/image12.png"/><Relationship Id="rId17" Type="http://schemas.openxmlformats.org/officeDocument/2006/relationships/image" Target="../media/image17.png"/><Relationship Id="rId2" Type="http://schemas.openxmlformats.org/officeDocument/2006/relationships/image" Target="../media/image2.png"/><Relationship Id="rId16" Type="http://schemas.openxmlformats.org/officeDocument/2006/relationships/image" Target="../media/image1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11" Type="http://schemas.openxmlformats.org/officeDocument/2006/relationships/image" Target="../media/image11.png"/><Relationship Id="rId5" Type="http://schemas.openxmlformats.org/officeDocument/2006/relationships/image" Target="../media/image5.png"/><Relationship Id="rId15" Type="http://schemas.openxmlformats.org/officeDocument/2006/relationships/image" Target="../media/image15.png"/><Relationship Id="rId10" Type="http://schemas.openxmlformats.org/officeDocument/2006/relationships/image" Target="../media/image10.png"/><Relationship Id="rId19" Type="http://schemas.openxmlformats.org/officeDocument/2006/relationships/image" Target="../media/image19.png"/><Relationship Id="rId4" Type="http://schemas.openxmlformats.org/officeDocument/2006/relationships/image" Target="../media/image4.png"/><Relationship Id="rId9" Type="http://schemas.openxmlformats.org/officeDocument/2006/relationships/image" Target="../media/image9.png"/><Relationship Id="rId14" Type="http://schemas.openxmlformats.org/officeDocument/2006/relationships/image" Target="../media/image14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A65AC0D5-BA1D-9176-4079-1DF51DD6CD8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字幕 2">
            <a:extLst>
              <a:ext uri="{FF2B5EF4-FFF2-40B4-BE49-F238E27FC236}">
                <a16:creationId xmlns:a16="http://schemas.microsoft.com/office/drawing/2014/main" id="{80A43A6D-DD3A-0D11-16FB-D65F21FF10C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9" indent="0" algn="ctr">
              <a:buNone/>
              <a:defRPr sz="2000"/>
            </a:lvl2pPr>
            <a:lvl3pPr marL="914418" indent="0" algn="ctr">
              <a:buNone/>
              <a:defRPr sz="1800"/>
            </a:lvl3pPr>
            <a:lvl4pPr marL="1371627" indent="0" algn="ctr">
              <a:buNone/>
              <a:defRPr sz="1600"/>
            </a:lvl4pPr>
            <a:lvl5pPr marL="1828837" indent="0" algn="ctr">
              <a:buNone/>
              <a:defRPr sz="1600"/>
            </a:lvl5pPr>
            <a:lvl6pPr marL="2286046" indent="0" algn="ctr">
              <a:buNone/>
              <a:defRPr sz="1600"/>
            </a:lvl6pPr>
            <a:lvl7pPr marL="2743255" indent="0" algn="ctr">
              <a:buNone/>
              <a:defRPr sz="1600"/>
            </a:lvl7pPr>
            <a:lvl8pPr marL="3200464" indent="0" algn="ctr">
              <a:buNone/>
              <a:defRPr sz="1600"/>
            </a:lvl8pPr>
            <a:lvl9pPr marL="3657673" indent="0" algn="ctr">
              <a:buNone/>
              <a:defRPr sz="1600"/>
            </a:lvl9pPr>
          </a:lstStyle>
          <a:p>
            <a:r>
              <a:rPr kumimoji="1" lang="ja-JP" altLang="en-US"/>
              <a:t>マスター サブタイトルの書式設定</a:t>
            </a:r>
          </a:p>
        </p:txBody>
      </p:sp>
      <p:sp>
        <p:nvSpPr>
          <p:cNvPr id="4" name="日付プレースホルダー 3">
            <a:extLst>
              <a:ext uri="{FF2B5EF4-FFF2-40B4-BE49-F238E27FC236}">
                <a16:creationId xmlns:a16="http://schemas.microsoft.com/office/drawing/2014/main" id="{15A653C1-BC56-AF96-9E02-DAB967C957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BF142E-C2E9-4D2A-B479-4545C056675E}" type="datetimeFigureOut">
              <a:rPr kumimoji="1" lang="ja-JP" altLang="en-US" smtClean="0"/>
              <a:t>2024/12/5</a:t>
            </a:fld>
            <a:endParaRPr kumimoji="1" lang="ja-JP" altLang="en-US"/>
          </a:p>
        </p:txBody>
      </p:sp>
      <p:sp>
        <p:nvSpPr>
          <p:cNvPr id="5" name="フッター プレースホルダー 4">
            <a:extLst>
              <a:ext uri="{FF2B5EF4-FFF2-40B4-BE49-F238E27FC236}">
                <a16:creationId xmlns:a16="http://schemas.microsoft.com/office/drawing/2014/main" id="{B79D4370-07BA-32E9-1DED-AA936DA3955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>
            <a:extLst>
              <a:ext uri="{FF2B5EF4-FFF2-40B4-BE49-F238E27FC236}">
                <a16:creationId xmlns:a16="http://schemas.microsoft.com/office/drawing/2014/main" id="{6ED63A59-5AD0-F053-63D7-726C02C95A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501BD3-1EF5-439B-B749-E2ADDBEF0C0B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71523852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C96C717F-5E2E-9669-721F-F1FB642AE4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縦書きテキスト プレースホルダー 2">
            <a:extLst>
              <a:ext uri="{FF2B5EF4-FFF2-40B4-BE49-F238E27FC236}">
                <a16:creationId xmlns:a16="http://schemas.microsoft.com/office/drawing/2014/main" id="{BBD22AD3-1010-4B3E-EFBA-36FBD3B5AE6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日付プレースホルダー 3">
            <a:extLst>
              <a:ext uri="{FF2B5EF4-FFF2-40B4-BE49-F238E27FC236}">
                <a16:creationId xmlns:a16="http://schemas.microsoft.com/office/drawing/2014/main" id="{24E5C9EC-F7EF-DE7E-3F62-1DBAABDB891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BF142E-C2E9-4D2A-B479-4545C056675E}" type="datetimeFigureOut">
              <a:rPr kumimoji="1" lang="ja-JP" altLang="en-US" smtClean="0"/>
              <a:t>2024/12/5</a:t>
            </a:fld>
            <a:endParaRPr kumimoji="1" lang="ja-JP" altLang="en-US"/>
          </a:p>
        </p:txBody>
      </p:sp>
      <p:sp>
        <p:nvSpPr>
          <p:cNvPr id="5" name="フッター プレースホルダー 4">
            <a:extLst>
              <a:ext uri="{FF2B5EF4-FFF2-40B4-BE49-F238E27FC236}">
                <a16:creationId xmlns:a16="http://schemas.microsoft.com/office/drawing/2014/main" id="{F5C7440B-D8D6-250D-4461-A0406991344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>
            <a:extLst>
              <a:ext uri="{FF2B5EF4-FFF2-40B4-BE49-F238E27FC236}">
                <a16:creationId xmlns:a16="http://schemas.microsoft.com/office/drawing/2014/main" id="{5F6959C8-E4EB-C545-78BE-87C14FF6E5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501BD3-1EF5-439B-B749-E2ADDBEF0C0B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422613021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縦書きタイトルと&#10;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縦書きタイトル 1">
            <a:extLst>
              <a:ext uri="{FF2B5EF4-FFF2-40B4-BE49-F238E27FC236}">
                <a16:creationId xmlns:a16="http://schemas.microsoft.com/office/drawing/2014/main" id="{E67C2793-AA89-8FE3-74DE-4CB885B30B01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縦書きテキスト プレースホルダー 2">
            <a:extLst>
              <a:ext uri="{FF2B5EF4-FFF2-40B4-BE49-F238E27FC236}">
                <a16:creationId xmlns:a16="http://schemas.microsoft.com/office/drawing/2014/main" id="{13D6E1DF-D68E-3558-A2F8-1400CFFDFBD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日付プレースホルダー 3">
            <a:extLst>
              <a:ext uri="{FF2B5EF4-FFF2-40B4-BE49-F238E27FC236}">
                <a16:creationId xmlns:a16="http://schemas.microsoft.com/office/drawing/2014/main" id="{2CA5FE1A-0F65-84B0-B508-9F1F43C1C30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BF142E-C2E9-4D2A-B479-4545C056675E}" type="datetimeFigureOut">
              <a:rPr kumimoji="1" lang="ja-JP" altLang="en-US" smtClean="0"/>
              <a:t>2024/12/5</a:t>
            </a:fld>
            <a:endParaRPr kumimoji="1" lang="ja-JP" altLang="en-US"/>
          </a:p>
        </p:txBody>
      </p:sp>
      <p:sp>
        <p:nvSpPr>
          <p:cNvPr id="5" name="フッター プレースホルダー 4">
            <a:extLst>
              <a:ext uri="{FF2B5EF4-FFF2-40B4-BE49-F238E27FC236}">
                <a16:creationId xmlns:a16="http://schemas.microsoft.com/office/drawing/2014/main" id="{9C985D01-1533-E94E-EB10-B731FE75862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>
            <a:extLst>
              <a:ext uri="{FF2B5EF4-FFF2-40B4-BE49-F238E27FC236}">
                <a16:creationId xmlns:a16="http://schemas.microsoft.com/office/drawing/2014/main" id="{A132590A-3CCD-A6A7-3147-4DA1E31D96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501BD3-1EF5-439B-B749-E2ADDBEF0C0B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425770947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エントリーシート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4" name="think-cell data - do not delete" hidden="1">
            <a:extLst>
              <a:ext uri="{FF2B5EF4-FFF2-40B4-BE49-F238E27FC236}">
                <a16:creationId xmlns:a16="http://schemas.microsoft.com/office/drawing/2014/main" id="{4C6B0441-045B-4F27-C74B-D0F9BAA0029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921449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499" imgH="499" progId="TCLayout.ActiveDocument.1">
                  <p:embed/>
                </p:oleObj>
              </mc:Choice>
              <mc:Fallback>
                <p:oleObj name="think-cell スライド" r:id="rId3" imgW="499" imgH="499" progId="TCLayout.ActiveDocument.1">
                  <p:embed/>
                  <p:pic>
                    <p:nvPicPr>
                      <p:cNvPr id="6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C6B0441-045B-4F27-C74B-D0F9BAA0029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正方形/長方形 6">
            <a:extLst>
              <a:ext uri="{FF2B5EF4-FFF2-40B4-BE49-F238E27FC236}">
                <a16:creationId xmlns:a16="http://schemas.microsoft.com/office/drawing/2014/main" id="{0082205D-CDBB-B87F-3E90-F66B4FB81FCA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sz="2117"/>
          </a:p>
        </p:txBody>
      </p:sp>
      <p:grpSp>
        <p:nvGrpSpPr>
          <p:cNvPr id="5" name="グループ化 4">
            <a:extLst>
              <a:ext uri="{FF2B5EF4-FFF2-40B4-BE49-F238E27FC236}">
                <a16:creationId xmlns:a16="http://schemas.microsoft.com/office/drawing/2014/main" id="{6F127256-30DC-8136-0ECB-A377BCE8678B}"/>
              </a:ext>
            </a:extLst>
          </p:cNvPr>
          <p:cNvGrpSpPr/>
          <p:nvPr userDrawn="1"/>
        </p:nvGrpSpPr>
        <p:grpSpPr>
          <a:xfrm>
            <a:off x="10122799" y="111307"/>
            <a:ext cx="1793284" cy="301028"/>
            <a:chOff x="513270" y="5229997"/>
            <a:chExt cx="4380513" cy="735330"/>
          </a:xfrm>
        </p:grpSpPr>
        <p:grpSp>
          <p:nvGrpSpPr>
            <p:cNvPr id="6" name="object 45">
              <a:extLst>
                <a:ext uri="{FF2B5EF4-FFF2-40B4-BE49-F238E27FC236}">
                  <a16:creationId xmlns:a16="http://schemas.microsoft.com/office/drawing/2014/main" id="{DE11FCBF-033A-1E88-668F-ABBF0839F7FB}"/>
                </a:ext>
              </a:extLst>
            </p:cNvPr>
            <p:cNvGrpSpPr/>
            <p:nvPr/>
          </p:nvGrpSpPr>
          <p:grpSpPr>
            <a:xfrm>
              <a:off x="513270" y="5229997"/>
              <a:ext cx="1193165" cy="735330"/>
              <a:chOff x="513270" y="5229997"/>
              <a:chExt cx="1193165" cy="735330"/>
            </a:xfrm>
          </p:grpSpPr>
          <p:pic>
            <p:nvPicPr>
              <p:cNvPr id="62" name="object 46">
                <a:extLst>
                  <a:ext uri="{FF2B5EF4-FFF2-40B4-BE49-F238E27FC236}">
                    <a16:creationId xmlns:a16="http://schemas.microsoft.com/office/drawing/2014/main" id="{D334A9D1-DF74-0681-E81D-249375BAA265}"/>
                  </a:ext>
                </a:extLst>
              </p:cNvPr>
              <p:cNvPicPr/>
              <p:nvPr/>
            </p:nvPicPr>
            <p:blipFill>
              <a:blip r:embed="rId5" cstate="print"/>
              <a:stretch>
                <a:fillRect/>
              </a:stretch>
            </p:blipFill>
            <p:spPr>
              <a:xfrm>
                <a:off x="513270" y="5229999"/>
                <a:ext cx="596315" cy="735253"/>
              </a:xfrm>
              <a:prstGeom prst="rect">
                <a:avLst/>
              </a:prstGeom>
            </p:spPr>
          </p:pic>
          <p:sp>
            <p:nvSpPr>
              <p:cNvPr id="63" name="object 47">
                <a:extLst>
                  <a:ext uri="{FF2B5EF4-FFF2-40B4-BE49-F238E27FC236}">
                    <a16:creationId xmlns:a16="http://schemas.microsoft.com/office/drawing/2014/main" id="{DBF08893-0C89-AB2A-D7C3-277BE7F1239B}"/>
                  </a:ext>
                </a:extLst>
              </p:cNvPr>
              <p:cNvSpPr/>
              <p:nvPr/>
            </p:nvSpPr>
            <p:spPr>
              <a:xfrm>
                <a:off x="970751" y="5229997"/>
                <a:ext cx="735330" cy="735330"/>
              </a:xfrm>
              <a:custGeom>
                <a:avLst/>
                <a:gdLst/>
                <a:ahLst/>
                <a:cxnLst/>
                <a:rect l="l" t="t" r="r" b="b"/>
                <a:pathLst>
                  <a:path w="735330" h="735329">
                    <a:moveTo>
                      <a:pt x="367626" y="0"/>
                    </a:moveTo>
                    <a:lnTo>
                      <a:pt x="321512" y="2864"/>
                    </a:lnTo>
                    <a:lnTo>
                      <a:pt x="277107" y="11227"/>
                    </a:lnTo>
                    <a:lnTo>
                      <a:pt x="234756" y="24745"/>
                    </a:lnTo>
                    <a:lnTo>
                      <a:pt x="194803" y="43073"/>
                    </a:lnTo>
                    <a:lnTo>
                      <a:pt x="157593" y="65866"/>
                    </a:lnTo>
                    <a:lnTo>
                      <a:pt x="123471" y="92780"/>
                    </a:lnTo>
                    <a:lnTo>
                      <a:pt x="92780" y="123471"/>
                    </a:lnTo>
                    <a:lnTo>
                      <a:pt x="65866" y="157593"/>
                    </a:lnTo>
                    <a:lnTo>
                      <a:pt x="43073" y="194803"/>
                    </a:lnTo>
                    <a:lnTo>
                      <a:pt x="24745" y="234756"/>
                    </a:lnTo>
                    <a:lnTo>
                      <a:pt x="11227" y="277107"/>
                    </a:lnTo>
                    <a:lnTo>
                      <a:pt x="2864" y="321512"/>
                    </a:lnTo>
                    <a:lnTo>
                      <a:pt x="0" y="367626"/>
                    </a:lnTo>
                    <a:lnTo>
                      <a:pt x="2852" y="413548"/>
                    </a:lnTo>
                    <a:lnTo>
                      <a:pt x="2864" y="413741"/>
                    </a:lnTo>
                    <a:lnTo>
                      <a:pt x="11227" y="458146"/>
                    </a:lnTo>
                    <a:lnTo>
                      <a:pt x="24745" y="500497"/>
                    </a:lnTo>
                    <a:lnTo>
                      <a:pt x="43073" y="540450"/>
                    </a:lnTo>
                    <a:lnTo>
                      <a:pt x="65866" y="577660"/>
                    </a:lnTo>
                    <a:lnTo>
                      <a:pt x="92780" y="611782"/>
                    </a:lnTo>
                    <a:lnTo>
                      <a:pt x="123471" y="642473"/>
                    </a:lnTo>
                    <a:lnTo>
                      <a:pt x="157593" y="669387"/>
                    </a:lnTo>
                    <a:lnTo>
                      <a:pt x="194803" y="692180"/>
                    </a:lnTo>
                    <a:lnTo>
                      <a:pt x="234756" y="710508"/>
                    </a:lnTo>
                    <a:lnTo>
                      <a:pt x="277107" y="724026"/>
                    </a:lnTo>
                    <a:lnTo>
                      <a:pt x="321512" y="732389"/>
                    </a:lnTo>
                    <a:lnTo>
                      <a:pt x="367626" y="735253"/>
                    </a:lnTo>
                    <a:lnTo>
                      <a:pt x="413741" y="732389"/>
                    </a:lnTo>
                    <a:lnTo>
                      <a:pt x="458146" y="724026"/>
                    </a:lnTo>
                    <a:lnTo>
                      <a:pt x="500497" y="710508"/>
                    </a:lnTo>
                    <a:lnTo>
                      <a:pt x="540450" y="692180"/>
                    </a:lnTo>
                    <a:lnTo>
                      <a:pt x="577660" y="669387"/>
                    </a:lnTo>
                    <a:lnTo>
                      <a:pt x="611782" y="642473"/>
                    </a:lnTo>
                    <a:lnTo>
                      <a:pt x="642473" y="611782"/>
                    </a:lnTo>
                    <a:lnTo>
                      <a:pt x="669387" y="577660"/>
                    </a:lnTo>
                    <a:lnTo>
                      <a:pt x="675214" y="568147"/>
                    </a:lnTo>
                    <a:lnTo>
                      <a:pt x="367626" y="568147"/>
                    </a:lnTo>
                    <a:lnTo>
                      <a:pt x="321706" y="562841"/>
                    </a:lnTo>
                    <a:lnTo>
                      <a:pt x="279523" y="547734"/>
                    </a:lnTo>
                    <a:lnTo>
                      <a:pt x="242291" y="524039"/>
                    </a:lnTo>
                    <a:lnTo>
                      <a:pt x="211222" y="492967"/>
                    </a:lnTo>
                    <a:lnTo>
                      <a:pt x="187529" y="455732"/>
                    </a:lnTo>
                    <a:lnTo>
                      <a:pt x="172492" y="413741"/>
                    </a:lnTo>
                    <a:lnTo>
                      <a:pt x="167119" y="367626"/>
                    </a:lnTo>
                    <a:lnTo>
                      <a:pt x="172423" y="321706"/>
                    </a:lnTo>
                    <a:lnTo>
                      <a:pt x="187529" y="279523"/>
                    </a:lnTo>
                    <a:lnTo>
                      <a:pt x="211222" y="242291"/>
                    </a:lnTo>
                    <a:lnTo>
                      <a:pt x="242291" y="211222"/>
                    </a:lnTo>
                    <a:lnTo>
                      <a:pt x="279523" y="187529"/>
                    </a:lnTo>
                    <a:lnTo>
                      <a:pt x="321706" y="172423"/>
                    </a:lnTo>
                    <a:lnTo>
                      <a:pt x="367626" y="167119"/>
                    </a:lnTo>
                    <a:lnTo>
                      <a:pt x="675222" y="167119"/>
                    </a:lnTo>
                    <a:lnTo>
                      <a:pt x="669387" y="157593"/>
                    </a:lnTo>
                    <a:lnTo>
                      <a:pt x="642473" y="123471"/>
                    </a:lnTo>
                    <a:lnTo>
                      <a:pt x="611782" y="92780"/>
                    </a:lnTo>
                    <a:lnTo>
                      <a:pt x="577660" y="65866"/>
                    </a:lnTo>
                    <a:lnTo>
                      <a:pt x="540450" y="43073"/>
                    </a:lnTo>
                    <a:lnTo>
                      <a:pt x="500497" y="24745"/>
                    </a:lnTo>
                    <a:lnTo>
                      <a:pt x="458146" y="11227"/>
                    </a:lnTo>
                    <a:lnTo>
                      <a:pt x="413741" y="2864"/>
                    </a:lnTo>
                    <a:lnTo>
                      <a:pt x="367626" y="0"/>
                    </a:lnTo>
                    <a:close/>
                  </a:path>
                  <a:path w="735330" h="735329">
                    <a:moveTo>
                      <a:pt x="675222" y="167119"/>
                    </a:moveTo>
                    <a:lnTo>
                      <a:pt x="367626" y="167119"/>
                    </a:lnTo>
                    <a:lnTo>
                      <a:pt x="413547" y="172423"/>
                    </a:lnTo>
                    <a:lnTo>
                      <a:pt x="455730" y="187529"/>
                    </a:lnTo>
                    <a:lnTo>
                      <a:pt x="492962" y="211222"/>
                    </a:lnTo>
                    <a:lnTo>
                      <a:pt x="524031" y="242291"/>
                    </a:lnTo>
                    <a:lnTo>
                      <a:pt x="547724" y="279523"/>
                    </a:lnTo>
                    <a:lnTo>
                      <a:pt x="562760" y="321512"/>
                    </a:lnTo>
                    <a:lnTo>
                      <a:pt x="562829" y="321706"/>
                    </a:lnTo>
                    <a:lnTo>
                      <a:pt x="568134" y="367626"/>
                    </a:lnTo>
                    <a:lnTo>
                      <a:pt x="562829" y="413548"/>
                    </a:lnTo>
                    <a:lnTo>
                      <a:pt x="547724" y="455732"/>
                    </a:lnTo>
                    <a:lnTo>
                      <a:pt x="524031" y="492967"/>
                    </a:lnTo>
                    <a:lnTo>
                      <a:pt x="492962" y="524039"/>
                    </a:lnTo>
                    <a:lnTo>
                      <a:pt x="455730" y="547734"/>
                    </a:lnTo>
                    <a:lnTo>
                      <a:pt x="413547" y="562841"/>
                    </a:lnTo>
                    <a:lnTo>
                      <a:pt x="367626" y="568147"/>
                    </a:lnTo>
                    <a:lnTo>
                      <a:pt x="675214" y="568147"/>
                    </a:lnTo>
                    <a:lnTo>
                      <a:pt x="710508" y="500497"/>
                    </a:lnTo>
                    <a:lnTo>
                      <a:pt x="724026" y="458146"/>
                    </a:lnTo>
                    <a:lnTo>
                      <a:pt x="732389" y="413741"/>
                    </a:lnTo>
                    <a:lnTo>
                      <a:pt x="735253" y="367626"/>
                    </a:lnTo>
                    <a:lnTo>
                      <a:pt x="732401" y="321706"/>
                    </a:lnTo>
                    <a:lnTo>
                      <a:pt x="732389" y="321512"/>
                    </a:lnTo>
                    <a:lnTo>
                      <a:pt x="724026" y="277107"/>
                    </a:lnTo>
                    <a:lnTo>
                      <a:pt x="710508" y="234756"/>
                    </a:lnTo>
                    <a:lnTo>
                      <a:pt x="692180" y="194803"/>
                    </a:lnTo>
                    <a:lnTo>
                      <a:pt x="675222" y="167119"/>
                    </a:lnTo>
                    <a:close/>
                  </a:path>
                </a:pathLst>
              </a:custGeom>
              <a:solidFill>
                <a:srgbClr val="221815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</p:grpSp>
        <p:grpSp>
          <p:nvGrpSpPr>
            <p:cNvPr id="8" name="object 48">
              <a:extLst>
                <a:ext uri="{FF2B5EF4-FFF2-40B4-BE49-F238E27FC236}">
                  <a16:creationId xmlns:a16="http://schemas.microsoft.com/office/drawing/2014/main" id="{03D98922-EF9E-0D86-6D27-520431A8B6C0}"/>
                </a:ext>
              </a:extLst>
            </p:cNvPr>
            <p:cNvGrpSpPr/>
            <p:nvPr/>
          </p:nvGrpSpPr>
          <p:grpSpPr>
            <a:xfrm>
              <a:off x="2799749" y="5389816"/>
              <a:ext cx="705485" cy="148590"/>
              <a:chOff x="2799749" y="5389816"/>
              <a:chExt cx="705485" cy="148590"/>
            </a:xfrm>
          </p:grpSpPr>
          <p:pic>
            <p:nvPicPr>
              <p:cNvPr id="27" name="object 49">
                <a:extLst>
                  <a:ext uri="{FF2B5EF4-FFF2-40B4-BE49-F238E27FC236}">
                    <a16:creationId xmlns:a16="http://schemas.microsoft.com/office/drawing/2014/main" id="{FC7DA162-5101-28DA-C6C9-36041B27B7A4}"/>
                  </a:ext>
                </a:extLst>
              </p:cNvPr>
              <p:cNvPicPr/>
              <p:nvPr/>
            </p:nvPicPr>
            <p:blipFill>
              <a:blip r:embed="rId6" cstate="print"/>
              <a:stretch>
                <a:fillRect/>
              </a:stretch>
            </p:blipFill>
            <p:spPr>
              <a:xfrm>
                <a:off x="2799749" y="5389816"/>
                <a:ext cx="130962" cy="148158"/>
              </a:xfrm>
              <a:prstGeom prst="rect">
                <a:avLst/>
              </a:prstGeom>
            </p:spPr>
          </p:pic>
          <p:pic>
            <p:nvPicPr>
              <p:cNvPr id="28" name="object 50">
                <a:extLst>
                  <a:ext uri="{FF2B5EF4-FFF2-40B4-BE49-F238E27FC236}">
                    <a16:creationId xmlns:a16="http://schemas.microsoft.com/office/drawing/2014/main" id="{95BDA750-E2E8-C5E9-AB9F-3B27BF395F1C}"/>
                  </a:ext>
                </a:extLst>
              </p:cNvPr>
              <p:cNvPicPr/>
              <p:nvPr/>
            </p:nvPicPr>
            <p:blipFill>
              <a:blip r:embed="rId7" cstate="print"/>
              <a:stretch>
                <a:fillRect/>
              </a:stretch>
            </p:blipFill>
            <p:spPr>
              <a:xfrm>
                <a:off x="2954046" y="5425837"/>
                <a:ext cx="98018" cy="111925"/>
              </a:xfrm>
              <a:prstGeom prst="rect">
                <a:avLst/>
              </a:prstGeom>
            </p:spPr>
          </p:pic>
          <p:sp>
            <p:nvSpPr>
              <p:cNvPr id="29" name="object 51">
                <a:extLst>
                  <a:ext uri="{FF2B5EF4-FFF2-40B4-BE49-F238E27FC236}">
                    <a16:creationId xmlns:a16="http://schemas.microsoft.com/office/drawing/2014/main" id="{E249244C-36B1-E49C-4684-AA4E37A67D62}"/>
                  </a:ext>
                </a:extLst>
              </p:cNvPr>
              <p:cNvSpPr/>
              <p:nvPr/>
            </p:nvSpPr>
            <p:spPr>
              <a:xfrm>
                <a:off x="3088694" y="5425004"/>
                <a:ext cx="63500" cy="111125"/>
              </a:xfrm>
              <a:custGeom>
                <a:avLst/>
                <a:gdLst/>
                <a:ahLst/>
                <a:cxnLst/>
                <a:rect l="l" t="t" r="r" b="b"/>
                <a:pathLst>
                  <a:path w="63500" h="111125">
                    <a:moveTo>
                      <a:pt x="53682" y="0"/>
                    </a:moveTo>
                    <a:lnTo>
                      <a:pt x="45770" y="2260"/>
                    </a:lnTo>
                    <a:lnTo>
                      <a:pt x="33223" y="12077"/>
                    </a:lnTo>
                    <a:lnTo>
                      <a:pt x="28384" y="18630"/>
                    </a:lnTo>
                    <a:lnTo>
                      <a:pt x="24968" y="26809"/>
                    </a:lnTo>
                    <a:lnTo>
                      <a:pt x="24968" y="2463"/>
                    </a:lnTo>
                    <a:lnTo>
                      <a:pt x="0" y="2463"/>
                    </a:lnTo>
                    <a:lnTo>
                      <a:pt x="0" y="110515"/>
                    </a:lnTo>
                    <a:lnTo>
                      <a:pt x="24968" y="110515"/>
                    </a:lnTo>
                    <a:lnTo>
                      <a:pt x="24968" y="69380"/>
                    </a:lnTo>
                    <a:lnTo>
                      <a:pt x="24968" y="62293"/>
                    </a:lnTo>
                    <a:lnTo>
                      <a:pt x="51371" y="27495"/>
                    </a:lnTo>
                    <a:lnTo>
                      <a:pt x="56349" y="26619"/>
                    </a:lnTo>
                    <a:lnTo>
                      <a:pt x="63233" y="26619"/>
                    </a:lnTo>
                    <a:lnTo>
                      <a:pt x="63233" y="419"/>
                    </a:lnTo>
                    <a:lnTo>
                      <a:pt x="53682" y="0"/>
                    </a:lnTo>
                    <a:close/>
                  </a:path>
                </a:pathLst>
              </a:custGeom>
              <a:solidFill>
                <a:srgbClr val="221815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pic>
            <p:nvPicPr>
              <p:cNvPr id="30" name="object 52">
                <a:extLst>
                  <a:ext uri="{FF2B5EF4-FFF2-40B4-BE49-F238E27FC236}">
                    <a16:creationId xmlns:a16="http://schemas.microsoft.com/office/drawing/2014/main" id="{F91AEC4E-593E-7F63-F67A-19391C35E9C0}"/>
                  </a:ext>
                </a:extLst>
              </p:cNvPr>
              <p:cNvPicPr/>
              <p:nvPr/>
            </p:nvPicPr>
            <p:blipFill>
              <a:blip r:embed="rId8" cstate="print"/>
              <a:stretch>
                <a:fillRect/>
              </a:stretch>
            </p:blipFill>
            <p:spPr>
              <a:xfrm>
                <a:off x="3174443" y="5425211"/>
                <a:ext cx="104571" cy="112763"/>
              </a:xfrm>
              <a:prstGeom prst="rect">
                <a:avLst/>
              </a:prstGeom>
            </p:spPr>
          </p:pic>
          <p:pic>
            <p:nvPicPr>
              <p:cNvPr id="31" name="object 53">
                <a:extLst>
                  <a:ext uri="{FF2B5EF4-FFF2-40B4-BE49-F238E27FC236}">
                    <a16:creationId xmlns:a16="http://schemas.microsoft.com/office/drawing/2014/main" id="{C729EA91-FEAD-1EF4-338E-39C4B45EEF85}"/>
                  </a:ext>
                </a:extLst>
              </p:cNvPr>
              <p:cNvPicPr/>
              <p:nvPr/>
            </p:nvPicPr>
            <p:blipFill>
              <a:blip r:embed="rId8" cstate="print"/>
              <a:stretch>
                <a:fillRect/>
              </a:stretch>
            </p:blipFill>
            <p:spPr>
              <a:xfrm>
                <a:off x="3305204" y="5425211"/>
                <a:ext cx="104571" cy="112763"/>
              </a:xfrm>
              <a:prstGeom prst="rect">
                <a:avLst/>
              </a:prstGeom>
            </p:spPr>
          </p:pic>
          <p:sp>
            <p:nvSpPr>
              <p:cNvPr id="32" name="object 54">
                <a:extLst>
                  <a:ext uri="{FF2B5EF4-FFF2-40B4-BE49-F238E27FC236}">
                    <a16:creationId xmlns:a16="http://schemas.microsoft.com/office/drawing/2014/main" id="{73C9DF3E-7409-C298-C276-D1BC703A557C}"/>
                  </a:ext>
                </a:extLst>
              </p:cNvPr>
              <p:cNvSpPr/>
              <p:nvPr/>
            </p:nvSpPr>
            <p:spPr>
              <a:xfrm>
                <a:off x="3441909" y="5425011"/>
                <a:ext cx="63500" cy="111125"/>
              </a:xfrm>
              <a:custGeom>
                <a:avLst/>
                <a:gdLst/>
                <a:ahLst/>
                <a:cxnLst/>
                <a:rect l="l" t="t" r="r" b="b"/>
                <a:pathLst>
                  <a:path w="63500" h="111125">
                    <a:moveTo>
                      <a:pt x="53682" y="0"/>
                    </a:moveTo>
                    <a:lnTo>
                      <a:pt x="45758" y="2247"/>
                    </a:lnTo>
                    <a:lnTo>
                      <a:pt x="33223" y="12077"/>
                    </a:lnTo>
                    <a:lnTo>
                      <a:pt x="28371" y="18630"/>
                    </a:lnTo>
                    <a:lnTo>
                      <a:pt x="24968" y="26809"/>
                    </a:lnTo>
                    <a:lnTo>
                      <a:pt x="24968" y="2451"/>
                    </a:lnTo>
                    <a:lnTo>
                      <a:pt x="0" y="2451"/>
                    </a:lnTo>
                    <a:lnTo>
                      <a:pt x="0" y="110502"/>
                    </a:lnTo>
                    <a:lnTo>
                      <a:pt x="24968" y="110502"/>
                    </a:lnTo>
                    <a:lnTo>
                      <a:pt x="24968" y="62280"/>
                    </a:lnTo>
                    <a:lnTo>
                      <a:pt x="25857" y="56045"/>
                    </a:lnTo>
                    <a:lnTo>
                      <a:pt x="51358" y="27495"/>
                    </a:lnTo>
                    <a:lnTo>
                      <a:pt x="56337" y="26606"/>
                    </a:lnTo>
                    <a:lnTo>
                      <a:pt x="63233" y="26606"/>
                    </a:lnTo>
                    <a:lnTo>
                      <a:pt x="63233" y="406"/>
                    </a:lnTo>
                    <a:lnTo>
                      <a:pt x="53682" y="0"/>
                    </a:lnTo>
                    <a:close/>
                  </a:path>
                </a:pathLst>
              </a:custGeom>
              <a:solidFill>
                <a:srgbClr val="221815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</p:grpSp>
        <p:grpSp>
          <p:nvGrpSpPr>
            <p:cNvPr id="9" name="object 55">
              <a:extLst>
                <a:ext uri="{FF2B5EF4-FFF2-40B4-BE49-F238E27FC236}">
                  <a16:creationId xmlns:a16="http://schemas.microsoft.com/office/drawing/2014/main" id="{1CA013F8-44FB-AAF9-78AC-AD857022CF46}"/>
                </a:ext>
              </a:extLst>
            </p:cNvPr>
            <p:cNvGrpSpPr/>
            <p:nvPr/>
          </p:nvGrpSpPr>
          <p:grpSpPr>
            <a:xfrm>
              <a:off x="3598668" y="5386129"/>
              <a:ext cx="1113155" cy="182245"/>
              <a:chOff x="3598668" y="5386129"/>
              <a:chExt cx="1113155" cy="182245"/>
            </a:xfrm>
          </p:grpSpPr>
          <p:pic>
            <p:nvPicPr>
              <p:cNvPr id="19" name="object 56">
                <a:extLst>
                  <a:ext uri="{FF2B5EF4-FFF2-40B4-BE49-F238E27FC236}">
                    <a16:creationId xmlns:a16="http://schemas.microsoft.com/office/drawing/2014/main" id="{CD13E098-DDB8-9CC2-6200-4FA7DB4DCC5F}"/>
                  </a:ext>
                </a:extLst>
              </p:cNvPr>
              <p:cNvPicPr/>
              <p:nvPr/>
            </p:nvPicPr>
            <p:blipFill>
              <a:blip r:embed="rId9" cstate="print"/>
              <a:stretch>
                <a:fillRect/>
              </a:stretch>
            </p:blipFill>
            <p:spPr>
              <a:xfrm>
                <a:off x="3598668" y="5389810"/>
                <a:ext cx="149796" cy="148158"/>
              </a:xfrm>
              <a:prstGeom prst="rect">
                <a:avLst/>
              </a:prstGeom>
            </p:spPr>
          </p:pic>
          <p:pic>
            <p:nvPicPr>
              <p:cNvPr id="20" name="object 57">
                <a:extLst>
                  <a:ext uri="{FF2B5EF4-FFF2-40B4-BE49-F238E27FC236}">
                    <a16:creationId xmlns:a16="http://schemas.microsoft.com/office/drawing/2014/main" id="{3675507D-3687-BDBA-31C8-D2117D72C719}"/>
                  </a:ext>
                </a:extLst>
              </p:cNvPr>
              <p:cNvPicPr/>
              <p:nvPr/>
            </p:nvPicPr>
            <p:blipFill>
              <a:blip r:embed="rId10" cstate="print"/>
              <a:stretch>
                <a:fillRect/>
              </a:stretch>
            </p:blipFill>
            <p:spPr>
              <a:xfrm>
                <a:off x="3770153" y="5427051"/>
                <a:ext cx="163093" cy="109283"/>
              </a:xfrm>
              <a:prstGeom prst="rect">
                <a:avLst/>
              </a:prstGeom>
            </p:spPr>
          </p:pic>
          <p:pic>
            <p:nvPicPr>
              <p:cNvPr id="21" name="object 58">
                <a:extLst>
                  <a:ext uri="{FF2B5EF4-FFF2-40B4-BE49-F238E27FC236}">
                    <a16:creationId xmlns:a16="http://schemas.microsoft.com/office/drawing/2014/main" id="{B6C95FDC-3FAA-FB6D-37F4-6524E1C7647B}"/>
                  </a:ext>
                </a:extLst>
              </p:cNvPr>
              <p:cNvPicPr/>
              <p:nvPr/>
            </p:nvPicPr>
            <p:blipFill>
              <a:blip r:embed="rId11" cstate="print"/>
              <a:stretch>
                <a:fillRect/>
              </a:stretch>
            </p:blipFill>
            <p:spPr>
              <a:xfrm>
                <a:off x="3958411" y="5425217"/>
                <a:ext cx="97002" cy="110299"/>
              </a:xfrm>
              <a:prstGeom prst="rect">
                <a:avLst/>
              </a:prstGeom>
            </p:spPr>
          </p:pic>
          <p:pic>
            <p:nvPicPr>
              <p:cNvPr id="22" name="object 59">
                <a:extLst>
                  <a:ext uri="{FF2B5EF4-FFF2-40B4-BE49-F238E27FC236}">
                    <a16:creationId xmlns:a16="http://schemas.microsoft.com/office/drawing/2014/main" id="{8957A3F6-BEF5-40B4-AEB1-E46E692E3204}"/>
                  </a:ext>
                </a:extLst>
              </p:cNvPr>
              <p:cNvPicPr/>
              <p:nvPr/>
            </p:nvPicPr>
            <p:blipFill>
              <a:blip r:embed="rId12" cstate="print"/>
              <a:stretch>
                <a:fillRect/>
              </a:stretch>
            </p:blipFill>
            <p:spPr>
              <a:xfrm>
                <a:off x="4082436" y="5425212"/>
                <a:ext cx="104559" cy="112763"/>
              </a:xfrm>
              <a:prstGeom prst="rect">
                <a:avLst/>
              </a:prstGeom>
            </p:spPr>
          </p:pic>
          <p:pic>
            <p:nvPicPr>
              <p:cNvPr id="23" name="object 60">
                <a:extLst>
                  <a:ext uri="{FF2B5EF4-FFF2-40B4-BE49-F238E27FC236}">
                    <a16:creationId xmlns:a16="http://schemas.microsoft.com/office/drawing/2014/main" id="{8E57DEBC-BD2E-CDDB-7D0B-C706FEAB5491}"/>
                  </a:ext>
                </a:extLst>
              </p:cNvPr>
              <p:cNvPicPr/>
              <p:nvPr/>
            </p:nvPicPr>
            <p:blipFill>
              <a:blip r:embed="rId13" cstate="print"/>
              <a:stretch>
                <a:fillRect/>
              </a:stretch>
            </p:blipFill>
            <p:spPr>
              <a:xfrm>
                <a:off x="4215032" y="5425004"/>
                <a:ext cx="164739" cy="112561"/>
              </a:xfrm>
              <a:prstGeom prst="rect">
                <a:avLst/>
              </a:prstGeom>
            </p:spPr>
          </p:pic>
          <p:pic>
            <p:nvPicPr>
              <p:cNvPr id="24" name="object 61">
                <a:extLst>
                  <a:ext uri="{FF2B5EF4-FFF2-40B4-BE49-F238E27FC236}">
                    <a16:creationId xmlns:a16="http://schemas.microsoft.com/office/drawing/2014/main" id="{C92780D8-A35B-469D-F3F0-92D8C6E3B424}"/>
                  </a:ext>
                </a:extLst>
              </p:cNvPr>
              <p:cNvPicPr/>
              <p:nvPr/>
            </p:nvPicPr>
            <p:blipFill>
              <a:blip r:embed="rId14" cstate="print"/>
              <a:stretch>
                <a:fillRect/>
              </a:stretch>
            </p:blipFill>
            <p:spPr>
              <a:xfrm>
                <a:off x="4408001" y="5386129"/>
                <a:ext cx="97002" cy="149390"/>
              </a:xfrm>
              <a:prstGeom prst="rect">
                <a:avLst/>
              </a:prstGeom>
            </p:spPr>
          </p:pic>
          <p:sp>
            <p:nvSpPr>
              <p:cNvPr id="25" name="object 62">
                <a:extLst>
                  <a:ext uri="{FF2B5EF4-FFF2-40B4-BE49-F238E27FC236}">
                    <a16:creationId xmlns:a16="http://schemas.microsoft.com/office/drawing/2014/main" id="{F674FB52-C5E7-712B-AD0E-0E86907B2F17}"/>
                  </a:ext>
                </a:extLst>
              </p:cNvPr>
              <p:cNvSpPr/>
              <p:nvPr/>
            </p:nvSpPr>
            <p:spPr>
              <a:xfrm>
                <a:off x="4538370" y="5387365"/>
                <a:ext cx="27305" cy="148590"/>
              </a:xfrm>
              <a:custGeom>
                <a:avLst/>
                <a:gdLst/>
                <a:ahLst/>
                <a:cxnLst/>
                <a:rect l="l" t="t" r="r" b="b"/>
                <a:pathLst>
                  <a:path w="27304" h="148589">
                    <a:moveTo>
                      <a:pt x="25984" y="40106"/>
                    </a:moveTo>
                    <a:lnTo>
                      <a:pt x="1016" y="40106"/>
                    </a:lnTo>
                    <a:lnTo>
                      <a:pt x="1016" y="148158"/>
                    </a:lnTo>
                    <a:lnTo>
                      <a:pt x="25984" y="148158"/>
                    </a:lnTo>
                    <a:lnTo>
                      <a:pt x="25984" y="40106"/>
                    </a:lnTo>
                    <a:close/>
                  </a:path>
                  <a:path w="27304" h="148589">
                    <a:moveTo>
                      <a:pt x="26797" y="0"/>
                    </a:moveTo>
                    <a:lnTo>
                      <a:pt x="0" y="0"/>
                    </a:lnTo>
                    <a:lnTo>
                      <a:pt x="0" y="23533"/>
                    </a:lnTo>
                    <a:lnTo>
                      <a:pt x="26797" y="23533"/>
                    </a:lnTo>
                    <a:lnTo>
                      <a:pt x="26797" y="0"/>
                    </a:lnTo>
                    <a:close/>
                  </a:path>
                </a:pathLst>
              </a:custGeom>
              <a:solidFill>
                <a:srgbClr val="221815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pic>
            <p:nvPicPr>
              <p:cNvPr id="26" name="object 63">
                <a:extLst>
                  <a:ext uri="{FF2B5EF4-FFF2-40B4-BE49-F238E27FC236}">
                    <a16:creationId xmlns:a16="http://schemas.microsoft.com/office/drawing/2014/main" id="{4DF66537-8AD5-EB8C-28D6-CFB5728DDBDB}"/>
                  </a:ext>
                </a:extLst>
              </p:cNvPr>
              <p:cNvPicPr/>
              <p:nvPr/>
            </p:nvPicPr>
            <p:blipFill>
              <a:blip r:embed="rId15" cstate="print"/>
              <a:stretch>
                <a:fillRect/>
              </a:stretch>
            </p:blipFill>
            <p:spPr>
              <a:xfrm>
                <a:off x="4599562" y="5425219"/>
                <a:ext cx="111721" cy="143040"/>
              </a:xfrm>
              <a:prstGeom prst="rect">
                <a:avLst/>
              </a:prstGeom>
            </p:spPr>
          </p:pic>
        </p:grpSp>
        <p:pic>
          <p:nvPicPr>
            <p:cNvPr id="10" name="object 64">
              <a:extLst>
                <a:ext uri="{FF2B5EF4-FFF2-40B4-BE49-F238E27FC236}">
                  <a16:creationId xmlns:a16="http://schemas.microsoft.com/office/drawing/2014/main" id="{97D40A3E-CF63-CB79-F658-0D479119C8A9}"/>
                </a:ext>
              </a:extLst>
            </p:cNvPr>
            <p:cNvPicPr/>
            <p:nvPr/>
          </p:nvPicPr>
          <p:blipFill>
            <a:blip r:embed="rId16" cstate="print"/>
            <a:stretch>
              <a:fillRect/>
            </a:stretch>
          </p:blipFill>
          <p:spPr>
            <a:xfrm>
              <a:off x="2806094" y="5632719"/>
              <a:ext cx="1334244" cy="176400"/>
            </a:xfrm>
            <a:prstGeom prst="rect">
              <a:avLst/>
            </a:prstGeom>
          </p:spPr>
        </p:pic>
        <p:grpSp>
          <p:nvGrpSpPr>
            <p:cNvPr id="11" name="object 65">
              <a:extLst>
                <a:ext uri="{FF2B5EF4-FFF2-40B4-BE49-F238E27FC236}">
                  <a16:creationId xmlns:a16="http://schemas.microsoft.com/office/drawing/2014/main" id="{17FAC2D7-451E-D9D5-0725-385615147D91}"/>
                </a:ext>
              </a:extLst>
            </p:cNvPr>
            <p:cNvGrpSpPr/>
            <p:nvPr/>
          </p:nvGrpSpPr>
          <p:grpSpPr>
            <a:xfrm>
              <a:off x="4223223" y="5626578"/>
              <a:ext cx="670560" cy="151765"/>
              <a:chOff x="4223223" y="5626578"/>
              <a:chExt cx="670560" cy="151765"/>
            </a:xfrm>
          </p:grpSpPr>
          <p:pic>
            <p:nvPicPr>
              <p:cNvPr id="17" name="object 66">
                <a:extLst>
                  <a:ext uri="{FF2B5EF4-FFF2-40B4-BE49-F238E27FC236}">
                    <a16:creationId xmlns:a16="http://schemas.microsoft.com/office/drawing/2014/main" id="{C453FE17-7187-0041-EDEB-8D1F9559906A}"/>
                  </a:ext>
                </a:extLst>
              </p:cNvPr>
              <p:cNvPicPr/>
              <p:nvPr/>
            </p:nvPicPr>
            <p:blipFill>
              <a:blip r:embed="rId17" cstate="print"/>
              <a:stretch>
                <a:fillRect/>
              </a:stretch>
            </p:blipFill>
            <p:spPr>
              <a:xfrm>
                <a:off x="4223223" y="5631704"/>
                <a:ext cx="444056" cy="146517"/>
              </a:xfrm>
              <a:prstGeom prst="rect">
                <a:avLst/>
              </a:prstGeom>
            </p:spPr>
          </p:pic>
          <p:pic>
            <p:nvPicPr>
              <p:cNvPr id="18" name="object 67">
                <a:extLst>
                  <a:ext uri="{FF2B5EF4-FFF2-40B4-BE49-F238E27FC236}">
                    <a16:creationId xmlns:a16="http://schemas.microsoft.com/office/drawing/2014/main" id="{438004D1-D9C0-1CA2-2D7A-3208C93DE2DE}"/>
                  </a:ext>
                </a:extLst>
              </p:cNvPr>
              <p:cNvPicPr/>
              <p:nvPr/>
            </p:nvPicPr>
            <p:blipFill>
              <a:blip r:embed="rId18" cstate="print"/>
              <a:stretch>
                <a:fillRect/>
              </a:stretch>
            </p:blipFill>
            <p:spPr>
              <a:xfrm>
                <a:off x="4699816" y="5626578"/>
                <a:ext cx="193794" cy="151637"/>
              </a:xfrm>
              <a:prstGeom prst="rect">
                <a:avLst/>
              </a:prstGeom>
            </p:spPr>
          </p:pic>
        </p:grpSp>
        <p:pic>
          <p:nvPicPr>
            <p:cNvPr id="12" name="object 68">
              <a:extLst>
                <a:ext uri="{FF2B5EF4-FFF2-40B4-BE49-F238E27FC236}">
                  <a16:creationId xmlns:a16="http://schemas.microsoft.com/office/drawing/2014/main" id="{FFB22510-D2CE-31A4-C15E-419A64D5BD79}"/>
                </a:ext>
              </a:extLst>
            </p:cNvPr>
            <p:cNvPicPr/>
            <p:nvPr/>
          </p:nvPicPr>
          <p:blipFill>
            <a:blip r:embed="rId19" cstate="print"/>
            <a:stretch>
              <a:fillRect/>
            </a:stretch>
          </p:blipFill>
          <p:spPr>
            <a:xfrm>
              <a:off x="1879156" y="5498016"/>
              <a:ext cx="131203" cy="197561"/>
            </a:xfrm>
            <a:prstGeom prst="rect">
              <a:avLst/>
            </a:prstGeom>
          </p:spPr>
        </p:pic>
        <p:grpSp>
          <p:nvGrpSpPr>
            <p:cNvPr id="13" name="object 69">
              <a:extLst>
                <a:ext uri="{FF2B5EF4-FFF2-40B4-BE49-F238E27FC236}">
                  <a16:creationId xmlns:a16="http://schemas.microsoft.com/office/drawing/2014/main" id="{38AD271E-BBDA-6A4C-05EB-DF6AC9B24EB7}"/>
                </a:ext>
              </a:extLst>
            </p:cNvPr>
            <p:cNvGrpSpPr/>
            <p:nvPr/>
          </p:nvGrpSpPr>
          <p:grpSpPr>
            <a:xfrm>
              <a:off x="2057979" y="5498016"/>
              <a:ext cx="368300" cy="200660"/>
              <a:chOff x="2057979" y="5498016"/>
              <a:chExt cx="368300" cy="200660"/>
            </a:xfrm>
          </p:grpSpPr>
          <p:pic>
            <p:nvPicPr>
              <p:cNvPr id="15" name="object 70">
                <a:extLst>
                  <a:ext uri="{FF2B5EF4-FFF2-40B4-BE49-F238E27FC236}">
                    <a16:creationId xmlns:a16="http://schemas.microsoft.com/office/drawing/2014/main" id="{DC07B7A0-0946-D3BE-9449-7FC0BEFA5DE0}"/>
                  </a:ext>
                </a:extLst>
              </p:cNvPr>
              <p:cNvPicPr/>
              <p:nvPr/>
            </p:nvPicPr>
            <p:blipFill>
              <a:blip r:embed="rId20" cstate="print"/>
              <a:stretch>
                <a:fillRect/>
              </a:stretch>
            </p:blipFill>
            <p:spPr>
              <a:xfrm>
                <a:off x="2057979" y="5499087"/>
                <a:ext cx="199440" cy="199453"/>
              </a:xfrm>
              <a:prstGeom prst="rect">
                <a:avLst/>
              </a:prstGeom>
            </p:spPr>
          </p:pic>
          <p:pic>
            <p:nvPicPr>
              <p:cNvPr id="16" name="object 71">
                <a:extLst>
                  <a:ext uri="{FF2B5EF4-FFF2-40B4-BE49-F238E27FC236}">
                    <a16:creationId xmlns:a16="http://schemas.microsoft.com/office/drawing/2014/main" id="{02E91F44-FAD3-7648-2838-284FF0C7E223}"/>
                  </a:ext>
                </a:extLst>
              </p:cNvPr>
              <p:cNvPicPr/>
              <p:nvPr/>
            </p:nvPicPr>
            <p:blipFill>
              <a:blip r:embed="rId21" cstate="print"/>
              <a:stretch>
                <a:fillRect/>
              </a:stretch>
            </p:blipFill>
            <p:spPr>
              <a:xfrm>
                <a:off x="2294486" y="5498016"/>
                <a:ext cx="131203" cy="197561"/>
              </a:xfrm>
              <a:prstGeom prst="rect">
                <a:avLst/>
              </a:prstGeom>
            </p:spPr>
          </p:pic>
        </p:grpSp>
        <p:pic>
          <p:nvPicPr>
            <p:cNvPr id="14" name="object 72">
              <a:extLst>
                <a:ext uri="{FF2B5EF4-FFF2-40B4-BE49-F238E27FC236}">
                  <a16:creationId xmlns:a16="http://schemas.microsoft.com/office/drawing/2014/main" id="{0CDF82DF-4433-7F71-5F04-D38C8ED987FD}"/>
                </a:ext>
              </a:extLst>
            </p:cNvPr>
            <p:cNvPicPr/>
            <p:nvPr/>
          </p:nvPicPr>
          <p:blipFill>
            <a:blip r:embed="rId22" cstate="print"/>
            <a:stretch>
              <a:fillRect/>
            </a:stretch>
          </p:blipFill>
          <p:spPr>
            <a:xfrm>
              <a:off x="2481940" y="5501791"/>
              <a:ext cx="132651" cy="1966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96287238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エントリーシート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正方形/長方形 6">
            <a:extLst>
              <a:ext uri="{FF2B5EF4-FFF2-40B4-BE49-F238E27FC236}">
                <a16:creationId xmlns:a16="http://schemas.microsoft.com/office/drawing/2014/main" id="{0082205D-CDBB-B87F-3E90-F66B4FB81FCA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sz="2117"/>
          </a:p>
        </p:txBody>
      </p:sp>
      <p:grpSp>
        <p:nvGrpSpPr>
          <p:cNvPr id="2" name="グループ化 1">
            <a:extLst>
              <a:ext uri="{FF2B5EF4-FFF2-40B4-BE49-F238E27FC236}">
                <a16:creationId xmlns:a16="http://schemas.microsoft.com/office/drawing/2014/main" id="{0A0672DC-79FB-C910-BDD1-02DCB38A2D2C}"/>
              </a:ext>
            </a:extLst>
          </p:cNvPr>
          <p:cNvGrpSpPr/>
          <p:nvPr userDrawn="1"/>
        </p:nvGrpSpPr>
        <p:grpSpPr>
          <a:xfrm>
            <a:off x="264294" y="882837"/>
            <a:ext cx="11663412" cy="5612828"/>
            <a:chOff x="623522" y="882837"/>
            <a:chExt cx="11663412" cy="5612828"/>
          </a:xfrm>
        </p:grpSpPr>
        <p:sp>
          <p:nvSpPr>
            <p:cNvPr id="3" name="正方形/長方形 2">
              <a:extLst>
                <a:ext uri="{FF2B5EF4-FFF2-40B4-BE49-F238E27FC236}">
                  <a16:creationId xmlns:a16="http://schemas.microsoft.com/office/drawing/2014/main" id="{CFA0211F-4CFB-F40F-2DDC-86297C1145B0}"/>
                </a:ext>
              </a:extLst>
            </p:cNvPr>
            <p:cNvSpPr/>
            <p:nvPr/>
          </p:nvSpPr>
          <p:spPr>
            <a:xfrm>
              <a:off x="623522" y="882837"/>
              <a:ext cx="11663412" cy="5612828"/>
            </a:xfrm>
            <a:prstGeom prst="rect">
              <a:avLst/>
            </a:prstGeom>
            <a:solidFill>
              <a:schemeClr val="bg1"/>
            </a:solidFill>
            <a:ln w="19050">
              <a:noFill/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ja-JP" altLang="en-US" sz="2117"/>
            </a:p>
          </p:txBody>
        </p:sp>
        <p:sp>
          <p:nvSpPr>
            <p:cNvPr id="4" name="正方形/長方形 3">
              <a:extLst>
                <a:ext uri="{FF2B5EF4-FFF2-40B4-BE49-F238E27FC236}">
                  <a16:creationId xmlns:a16="http://schemas.microsoft.com/office/drawing/2014/main" id="{11E8C9CF-A1F7-1B93-6162-C8ECCF3D2EDE}"/>
                </a:ext>
              </a:extLst>
            </p:cNvPr>
            <p:cNvSpPr/>
            <p:nvPr/>
          </p:nvSpPr>
          <p:spPr>
            <a:xfrm>
              <a:off x="627366" y="882837"/>
              <a:ext cx="11655724" cy="269688"/>
            </a:xfrm>
            <a:prstGeom prst="rect">
              <a:avLst/>
            </a:prstGeom>
            <a:solidFill>
              <a:srgbClr val="7F7F7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r>
                <a:rPr lang="ja-JP" altLang="en-US" sz="1100" b="1" spc="300" dirty="0"/>
                <a:t>取組みのポイント</a:t>
              </a:r>
            </a:p>
          </p:txBody>
        </p:sp>
        <p:sp>
          <p:nvSpPr>
            <p:cNvPr id="5" name="正方形/長方形 4">
              <a:extLst>
                <a:ext uri="{FF2B5EF4-FFF2-40B4-BE49-F238E27FC236}">
                  <a16:creationId xmlns:a16="http://schemas.microsoft.com/office/drawing/2014/main" id="{93ED68E8-91C0-F95F-4C90-FA3A8DF8CFD4}"/>
                </a:ext>
              </a:extLst>
            </p:cNvPr>
            <p:cNvSpPr/>
            <p:nvPr/>
          </p:nvSpPr>
          <p:spPr>
            <a:xfrm>
              <a:off x="623522" y="882837"/>
              <a:ext cx="11663412" cy="5612828"/>
            </a:xfrm>
            <a:prstGeom prst="rect">
              <a:avLst/>
            </a:prstGeom>
            <a:noFill/>
            <a:ln w="19050">
              <a:solidFill>
                <a:schemeClr val="tx1"/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ja-JP" altLang="en-US" sz="2117"/>
            </a:p>
          </p:txBody>
        </p:sp>
      </p:grpSp>
      <p:cxnSp>
        <p:nvCxnSpPr>
          <p:cNvPr id="15" name="直線コネクタ 14">
            <a:extLst>
              <a:ext uri="{FF2B5EF4-FFF2-40B4-BE49-F238E27FC236}">
                <a16:creationId xmlns:a16="http://schemas.microsoft.com/office/drawing/2014/main" id="{124CFCAF-A973-E8BC-5C27-D3610A7DC802}"/>
              </a:ext>
            </a:extLst>
          </p:cNvPr>
          <p:cNvCxnSpPr>
            <a:stCxn id="4" idx="2"/>
            <a:endCxn id="3" idx="2"/>
          </p:cNvCxnSpPr>
          <p:nvPr userDrawn="1"/>
        </p:nvCxnSpPr>
        <p:spPr>
          <a:xfrm>
            <a:off x="6096000" y="1152525"/>
            <a:ext cx="0" cy="534314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7" name="グループ化 66">
            <a:extLst>
              <a:ext uri="{FF2B5EF4-FFF2-40B4-BE49-F238E27FC236}">
                <a16:creationId xmlns:a16="http://schemas.microsoft.com/office/drawing/2014/main" id="{1FC98AD8-DB98-087E-4B6C-5BF3635BD49E}"/>
              </a:ext>
            </a:extLst>
          </p:cNvPr>
          <p:cNvGrpSpPr/>
          <p:nvPr userDrawn="1"/>
        </p:nvGrpSpPr>
        <p:grpSpPr>
          <a:xfrm>
            <a:off x="10122799" y="111307"/>
            <a:ext cx="1793284" cy="301028"/>
            <a:chOff x="513270" y="5229997"/>
            <a:chExt cx="4380513" cy="735330"/>
          </a:xfrm>
        </p:grpSpPr>
        <p:grpSp>
          <p:nvGrpSpPr>
            <p:cNvPr id="68" name="object 45">
              <a:extLst>
                <a:ext uri="{FF2B5EF4-FFF2-40B4-BE49-F238E27FC236}">
                  <a16:creationId xmlns:a16="http://schemas.microsoft.com/office/drawing/2014/main" id="{F41D3A42-F045-EB82-28BD-A8D347192B65}"/>
                </a:ext>
              </a:extLst>
            </p:cNvPr>
            <p:cNvGrpSpPr/>
            <p:nvPr/>
          </p:nvGrpSpPr>
          <p:grpSpPr>
            <a:xfrm>
              <a:off x="513270" y="5229997"/>
              <a:ext cx="1193165" cy="735330"/>
              <a:chOff x="513270" y="5229997"/>
              <a:chExt cx="1193165" cy="735330"/>
            </a:xfrm>
          </p:grpSpPr>
          <p:pic>
            <p:nvPicPr>
              <p:cNvPr id="94" name="object 46">
                <a:extLst>
                  <a:ext uri="{FF2B5EF4-FFF2-40B4-BE49-F238E27FC236}">
                    <a16:creationId xmlns:a16="http://schemas.microsoft.com/office/drawing/2014/main" id="{AC26FE13-BDD0-AD68-F9B8-E57D2CEDB0B5}"/>
                  </a:ext>
                </a:extLst>
              </p:cNvPr>
              <p:cNvPicPr/>
              <p:nvPr/>
            </p:nvPicPr>
            <p:blipFill>
              <a:blip r:embed="rId2" cstate="print"/>
              <a:stretch>
                <a:fillRect/>
              </a:stretch>
            </p:blipFill>
            <p:spPr>
              <a:xfrm>
                <a:off x="513270" y="5229999"/>
                <a:ext cx="596315" cy="735253"/>
              </a:xfrm>
              <a:prstGeom prst="rect">
                <a:avLst/>
              </a:prstGeom>
            </p:spPr>
          </p:pic>
          <p:sp>
            <p:nvSpPr>
              <p:cNvPr id="95" name="object 47">
                <a:extLst>
                  <a:ext uri="{FF2B5EF4-FFF2-40B4-BE49-F238E27FC236}">
                    <a16:creationId xmlns:a16="http://schemas.microsoft.com/office/drawing/2014/main" id="{97C15F43-7E41-25D6-0CEC-44B4F5F4DEC8}"/>
                  </a:ext>
                </a:extLst>
              </p:cNvPr>
              <p:cNvSpPr/>
              <p:nvPr/>
            </p:nvSpPr>
            <p:spPr>
              <a:xfrm>
                <a:off x="970751" y="5229997"/>
                <a:ext cx="735330" cy="735330"/>
              </a:xfrm>
              <a:custGeom>
                <a:avLst/>
                <a:gdLst/>
                <a:ahLst/>
                <a:cxnLst/>
                <a:rect l="l" t="t" r="r" b="b"/>
                <a:pathLst>
                  <a:path w="735330" h="735329">
                    <a:moveTo>
                      <a:pt x="367626" y="0"/>
                    </a:moveTo>
                    <a:lnTo>
                      <a:pt x="321512" y="2864"/>
                    </a:lnTo>
                    <a:lnTo>
                      <a:pt x="277107" y="11227"/>
                    </a:lnTo>
                    <a:lnTo>
                      <a:pt x="234756" y="24745"/>
                    </a:lnTo>
                    <a:lnTo>
                      <a:pt x="194803" y="43073"/>
                    </a:lnTo>
                    <a:lnTo>
                      <a:pt x="157593" y="65866"/>
                    </a:lnTo>
                    <a:lnTo>
                      <a:pt x="123471" y="92780"/>
                    </a:lnTo>
                    <a:lnTo>
                      <a:pt x="92780" y="123471"/>
                    </a:lnTo>
                    <a:lnTo>
                      <a:pt x="65866" y="157593"/>
                    </a:lnTo>
                    <a:lnTo>
                      <a:pt x="43073" y="194803"/>
                    </a:lnTo>
                    <a:lnTo>
                      <a:pt x="24745" y="234756"/>
                    </a:lnTo>
                    <a:lnTo>
                      <a:pt x="11227" y="277107"/>
                    </a:lnTo>
                    <a:lnTo>
                      <a:pt x="2864" y="321512"/>
                    </a:lnTo>
                    <a:lnTo>
                      <a:pt x="0" y="367626"/>
                    </a:lnTo>
                    <a:lnTo>
                      <a:pt x="2852" y="413548"/>
                    </a:lnTo>
                    <a:lnTo>
                      <a:pt x="2864" y="413741"/>
                    </a:lnTo>
                    <a:lnTo>
                      <a:pt x="11227" y="458146"/>
                    </a:lnTo>
                    <a:lnTo>
                      <a:pt x="24745" y="500497"/>
                    </a:lnTo>
                    <a:lnTo>
                      <a:pt x="43073" y="540450"/>
                    </a:lnTo>
                    <a:lnTo>
                      <a:pt x="65866" y="577660"/>
                    </a:lnTo>
                    <a:lnTo>
                      <a:pt x="92780" y="611782"/>
                    </a:lnTo>
                    <a:lnTo>
                      <a:pt x="123471" y="642473"/>
                    </a:lnTo>
                    <a:lnTo>
                      <a:pt x="157593" y="669387"/>
                    </a:lnTo>
                    <a:lnTo>
                      <a:pt x="194803" y="692180"/>
                    </a:lnTo>
                    <a:lnTo>
                      <a:pt x="234756" y="710508"/>
                    </a:lnTo>
                    <a:lnTo>
                      <a:pt x="277107" y="724026"/>
                    </a:lnTo>
                    <a:lnTo>
                      <a:pt x="321512" y="732389"/>
                    </a:lnTo>
                    <a:lnTo>
                      <a:pt x="367626" y="735253"/>
                    </a:lnTo>
                    <a:lnTo>
                      <a:pt x="413741" y="732389"/>
                    </a:lnTo>
                    <a:lnTo>
                      <a:pt x="458146" y="724026"/>
                    </a:lnTo>
                    <a:lnTo>
                      <a:pt x="500497" y="710508"/>
                    </a:lnTo>
                    <a:lnTo>
                      <a:pt x="540450" y="692180"/>
                    </a:lnTo>
                    <a:lnTo>
                      <a:pt x="577660" y="669387"/>
                    </a:lnTo>
                    <a:lnTo>
                      <a:pt x="611782" y="642473"/>
                    </a:lnTo>
                    <a:lnTo>
                      <a:pt x="642473" y="611782"/>
                    </a:lnTo>
                    <a:lnTo>
                      <a:pt x="669387" y="577660"/>
                    </a:lnTo>
                    <a:lnTo>
                      <a:pt x="675214" y="568147"/>
                    </a:lnTo>
                    <a:lnTo>
                      <a:pt x="367626" y="568147"/>
                    </a:lnTo>
                    <a:lnTo>
                      <a:pt x="321706" y="562841"/>
                    </a:lnTo>
                    <a:lnTo>
                      <a:pt x="279523" y="547734"/>
                    </a:lnTo>
                    <a:lnTo>
                      <a:pt x="242291" y="524039"/>
                    </a:lnTo>
                    <a:lnTo>
                      <a:pt x="211222" y="492967"/>
                    </a:lnTo>
                    <a:lnTo>
                      <a:pt x="187529" y="455732"/>
                    </a:lnTo>
                    <a:lnTo>
                      <a:pt x="172492" y="413741"/>
                    </a:lnTo>
                    <a:lnTo>
                      <a:pt x="167119" y="367626"/>
                    </a:lnTo>
                    <a:lnTo>
                      <a:pt x="172423" y="321706"/>
                    </a:lnTo>
                    <a:lnTo>
                      <a:pt x="187529" y="279523"/>
                    </a:lnTo>
                    <a:lnTo>
                      <a:pt x="211222" y="242291"/>
                    </a:lnTo>
                    <a:lnTo>
                      <a:pt x="242291" y="211222"/>
                    </a:lnTo>
                    <a:lnTo>
                      <a:pt x="279523" y="187529"/>
                    </a:lnTo>
                    <a:lnTo>
                      <a:pt x="321706" y="172423"/>
                    </a:lnTo>
                    <a:lnTo>
                      <a:pt x="367626" y="167119"/>
                    </a:lnTo>
                    <a:lnTo>
                      <a:pt x="675222" y="167119"/>
                    </a:lnTo>
                    <a:lnTo>
                      <a:pt x="669387" y="157593"/>
                    </a:lnTo>
                    <a:lnTo>
                      <a:pt x="642473" y="123471"/>
                    </a:lnTo>
                    <a:lnTo>
                      <a:pt x="611782" y="92780"/>
                    </a:lnTo>
                    <a:lnTo>
                      <a:pt x="577660" y="65866"/>
                    </a:lnTo>
                    <a:lnTo>
                      <a:pt x="540450" y="43073"/>
                    </a:lnTo>
                    <a:lnTo>
                      <a:pt x="500497" y="24745"/>
                    </a:lnTo>
                    <a:lnTo>
                      <a:pt x="458146" y="11227"/>
                    </a:lnTo>
                    <a:lnTo>
                      <a:pt x="413741" y="2864"/>
                    </a:lnTo>
                    <a:lnTo>
                      <a:pt x="367626" y="0"/>
                    </a:lnTo>
                    <a:close/>
                  </a:path>
                  <a:path w="735330" h="735329">
                    <a:moveTo>
                      <a:pt x="675222" y="167119"/>
                    </a:moveTo>
                    <a:lnTo>
                      <a:pt x="367626" y="167119"/>
                    </a:lnTo>
                    <a:lnTo>
                      <a:pt x="413547" y="172423"/>
                    </a:lnTo>
                    <a:lnTo>
                      <a:pt x="455730" y="187529"/>
                    </a:lnTo>
                    <a:lnTo>
                      <a:pt x="492962" y="211222"/>
                    </a:lnTo>
                    <a:lnTo>
                      <a:pt x="524031" y="242291"/>
                    </a:lnTo>
                    <a:lnTo>
                      <a:pt x="547724" y="279523"/>
                    </a:lnTo>
                    <a:lnTo>
                      <a:pt x="562760" y="321512"/>
                    </a:lnTo>
                    <a:lnTo>
                      <a:pt x="562829" y="321706"/>
                    </a:lnTo>
                    <a:lnTo>
                      <a:pt x="568134" y="367626"/>
                    </a:lnTo>
                    <a:lnTo>
                      <a:pt x="562829" y="413548"/>
                    </a:lnTo>
                    <a:lnTo>
                      <a:pt x="547724" y="455732"/>
                    </a:lnTo>
                    <a:lnTo>
                      <a:pt x="524031" y="492967"/>
                    </a:lnTo>
                    <a:lnTo>
                      <a:pt x="492962" y="524039"/>
                    </a:lnTo>
                    <a:lnTo>
                      <a:pt x="455730" y="547734"/>
                    </a:lnTo>
                    <a:lnTo>
                      <a:pt x="413547" y="562841"/>
                    </a:lnTo>
                    <a:lnTo>
                      <a:pt x="367626" y="568147"/>
                    </a:lnTo>
                    <a:lnTo>
                      <a:pt x="675214" y="568147"/>
                    </a:lnTo>
                    <a:lnTo>
                      <a:pt x="710508" y="500497"/>
                    </a:lnTo>
                    <a:lnTo>
                      <a:pt x="724026" y="458146"/>
                    </a:lnTo>
                    <a:lnTo>
                      <a:pt x="732389" y="413741"/>
                    </a:lnTo>
                    <a:lnTo>
                      <a:pt x="735253" y="367626"/>
                    </a:lnTo>
                    <a:lnTo>
                      <a:pt x="732401" y="321706"/>
                    </a:lnTo>
                    <a:lnTo>
                      <a:pt x="732389" y="321512"/>
                    </a:lnTo>
                    <a:lnTo>
                      <a:pt x="724026" y="277107"/>
                    </a:lnTo>
                    <a:lnTo>
                      <a:pt x="710508" y="234756"/>
                    </a:lnTo>
                    <a:lnTo>
                      <a:pt x="692180" y="194803"/>
                    </a:lnTo>
                    <a:lnTo>
                      <a:pt x="675222" y="167119"/>
                    </a:lnTo>
                    <a:close/>
                  </a:path>
                </a:pathLst>
              </a:custGeom>
              <a:solidFill>
                <a:srgbClr val="221815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</p:grpSp>
        <p:grpSp>
          <p:nvGrpSpPr>
            <p:cNvPr id="69" name="object 48">
              <a:extLst>
                <a:ext uri="{FF2B5EF4-FFF2-40B4-BE49-F238E27FC236}">
                  <a16:creationId xmlns:a16="http://schemas.microsoft.com/office/drawing/2014/main" id="{60E445B3-4DB2-E62C-B5A0-C3E1FB9FE33E}"/>
                </a:ext>
              </a:extLst>
            </p:cNvPr>
            <p:cNvGrpSpPr/>
            <p:nvPr/>
          </p:nvGrpSpPr>
          <p:grpSpPr>
            <a:xfrm>
              <a:off x="2799749" y="5389816"/>
              <a:ext cx="705485" cy="148590"/>
              <a:chOff x="2799749" y="5389816"/>
              <a:chExt cx="705485" cy="148590"/>
            </a:xfrm>
          </p:grpSpPr>
          <p:pic>
            <p:nvPicPr>
              <p:cNvPr id="88" name="object 49">
                <a:extLst>
                  <a:ext uri="{FF2B5EF4-FFF2-40B4-BE49-F238E27FC236}">
                    <a16:creationId xmlns:a16="http://schemas.microsoft.com/office/drawing/2014/main" id="{FD45F39D-754E-522B-2F19-B003F5287145}"/>
                  </a:ext>
                </a:extLst>
              </p:cNvPr>
              <p:cNvPicPr/>
              <p:nvPr/>
            </p:nvPicPr>
            <p:blipFill>
              <a:blip r:embed="rId3" cstate="print"/>
              <a:stretch>
                <a:fillRect/>
              </a:stretch>
            </p:blipFill>
            <p:spPr>
              <a:xfrm>
                <a:off x="2799749" y="5389816"/>
                <a:ext cx="130962" cy="148158"/>
              </a:xfrm>
              <a:prstGeom prst="rect">
                <a:avLst/>
              </a:prstGeom>
            </p:spPr>
          </p:pic>
          <p:pic>
            <p:nvPicPr>
              <p:cNvPr id="89" name="object 50">
                <a:extLst>
                  <a:ext uri="{FF2B5EF4-FFF2-40B4-BE49-F238E27FC236}">
                    <a16:creationId xmlns:a16="http://schemas.microsoft.com/office/drawing/2014/main" id="{304A8BCD-8CA0-8ADA-1F45-BFE032B2AEF7}"/>
                  </a:ext>
                </a:extLst>
              </p:cNvPr>
              <p:cNvPicPr/>
              <p:nvPr/>
            </p:nvPicPr>
            <p:blipFill>
              <a:blip r:embed="rId4" cstate="print"/>
              <a:stretch>
                <a:fillRect/>
              </a:stretch>
            </p:blipFill>
            <p:spPr>
              <a:xfrm>
                <a:off x="2954046" y="5425837"/>
                <a:ext cx="98018" cy="111925"/>
              </a:xfrm>
              <a:prstGeom prst="rect">
                <a:avLst/>
              </a:prstGeom>
            </p:spPr>
          </p:pic>
          <p:sp>
            <p:nvSpPr>
              <p:cNvPr id="90" name="object 51">
                <a:extLst>
                  <a:ext uri="{FF2B5EF4-FFF2-40B4-BE49-F238E27FC236}">
                    <a16:creationId xmlns:a16="http://schemas.microsoft.com/office/drawing/2014/main" id="{3791DD2C-5F04-9C16-A21D-7F1B409217FA}"/>
                  </a:ext>
                </a:extLst>
              </p:cNvPr>
              <p:cNvSpPr/>
              <p:nvPr/>
            </p:nvSpPr>
            <p:spPr>
              <a:xfrm>
                <a:off x="3088694" y="5425004"/>
                <a:ext cx="63500" cy="111125"/>
              </a:xfrm>
              <a:custGeom>
                <a:avLst/>
                <a:gdLst/>
                <a:ahLst/>
                <a:cxnLst/>
                <a:rect l="l" t="t" r="r" b="b"/>
                <a:pathLst>
                  <a:path w="63500" h="111125">
                    <a:moveTo>
                      <a:pt x="53682" y="0"/>
                    </a:moveTo>
                    <a:lnTo>
                      <a:pt x="45770" y="2260"/>
                    </a:lnTo>
                    <a:lnTo>
                      <a:pt x="33223" y="12077"/>
                    </a:lnTo>
                    <a:lnTo>
                      <a:pt x="28384" y="18630"/>
                    </a:lnTo>
                    <a:lnTo>
                      <a:pt x="24968" y="26809"/>
                    </a:lnTo>
                    <a:lnTo>
                      <a:pt x="24968" y="2463"/>
                    </a:lnTo>
                    <a:lnTo>
                      <a:pt x="0" y="2463"/>
                    </a:lnTo>
                    <a:lnTo>
                      <a:pt x="0" y="110515"/>
                    </a:lnTo>
                    <a:lnTo>
                      <a:pt x="24968" y="110515"/>
                    </a:lnTo>
                    <a:lnTo>
                      <a:pt x="24968" y="69380"/>
                    </a:lnTo>
                    <a:lnTo>
                      <a:pt x="24968" y="62293"/>
                    </a:lnTo>
                    <a:lnTo>
                      <a:pt x="51371" y="27495"/>
                    </a:lnTo>
                    <a:lnTo>
                      <a:pt x="56349" y="26619"/>
                    </a:lnTo>
                    <a:lnTo>
                      <a:pt x="63233" y="26619"/>
                    </a:lnTo>
                    <a:lnTo>
                      <a:pt x="63233" y="419"/>
                    </a:lnTo>
                    <a:lnTo>
                      <a:pt x="53682" y="0"/>
                    </a:lnTo>
                    <a:close/>
                  </a:path>
                </a:pathLst>
              </a:custGeom>
              <a:solidFill>
                <a:srgbClr val="221815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pic>
            <p:nvPicPr>
              <p:cNvPr id="91" name="object 52">
                <a:extLst>
                  <a:ext uri="{FF2B5EF4-FFF2-40B4-BE49-F238E27FC236}">
                    <a16:creationId xmlns:a16="http://schemas.microsoft.com/office/drawing/2014/main" id="{594C843D-A26F-7E69-CEC6-7C9B82138755}"/>
                  </a:ext>
                </a:extLst>
              </p:cNvPr>
              <p:cNvPicPr/>
              <p:nvPr/>
            </p:nvPicPr>
            <p:blipFill>
              <a:blip r:embed="rId5" cstate="print"/>
              <a:stretch>
                <a:fillRect/>
              </a:stretch>
            </p:blipFill>
            <p:spPr>
              <a:xfrm>
                <a:off x="3174443" y="5425211"/>
                <a:ext cx="104571" cy="112763"/>
              </a:xfrm>
              <a:prstGeom prst="rect">
                <a:avLst/>
              </a:prstGeom>
            </p:spPr>
          </p:pic>
          <p:pic>
            <p:nvPicPr>
              <p:cNvPr id="92" name="object 53">
                <a:extLst>
                  <a:ext uri="{FF2B5EF4-FFF2-40B4-BE49-F238E27FC236}">
                    <a16:creationId xmlns:a16="http://schemas.microsoft.com/office/drawing/2014/main" id="{83BB8D3B-7F69-3A35-74CB-73BFA363EACB}"/>
                  </a:ext>
                </a:extLst>
              </p:cNvPr>
              <p:cNvPicPr/>
              <p:nvPr/>
            </p:nvPicPr>
            <p:blipFill>
              <a:blip r:embed="rId5" cstate="print"/>
              <a:stretch>
                <a:fillRect/>
              </a:stretch>
            </p:blipFill>
            <p:spPr>
              <a:xfrm>
                <a:off x="3305204" y="5425211"/>
                <a:ext cx="104571" cy="112763"/>
              </a:xfrm>
              <a:prstGeom prst="rect">
                <a:avLst/>
              </a:prstGeom>
            </p:spPr>
          </p:pic>
          <p:sp>
            <p:nvSpPr>
              <p:cNvPr id="93" name="object 54">
                <a:extLst>
                  <a:ext uri="{FF2B5EF4-FFF2-40B4-BE49-F238E27FC236}">
                    <a16:creationId xmlns:a16="http://schemas.microsoft.com/office/drawing/2014/main" id="{E82632F3-B529-5B4B-BA1E-8BF8E0A9A938}"/>
                  </a:ext>
                </a:extLst>
              </p:cNvPr>
              <p:cNvSpPr/>
              <p:nvPr/>
            </p:nvSpPr>
            <p:spPr>
              <a:xfrm>
                <a:off x="3441909" y="5425011"/>
                <a:ext cx="63500" cy="111125"/>
              </a:xfrm>
              <a:custGeom>
                <a:avLst/>
                <a:gdLst/>
                <a:ahLst/>
                <a:cxnLst/>
                <a:rect l="l" t="t" r="r" b="b"/>
                <a:pathLst>
                  <a:path w="63500" h="111125">
                    <a:moveTo>
                      <a:pt x="53682" y="0"/>
                    </a:moveTo>
                    <a:lnTo>
                      <a:pt x="45758" y="2247"/>
                    </a:lnTo>
                    <a:lnTo>
                      <a:pt x="33223" y="12077"/>
                    </a:lnTo>
                    <a:lnTo>
                      <a:pt x="28371" y="18630"/>
                    </a:lnTo>
                    <a:lnTo>
                      <a:pt x="24968" y="26809"/>
                    </a:lnTo>
                    <a:lnTo>
                      <a:pt x="24968" y="2451"/>
                    </a:lnTo>
                    <a:lnTo>
                      <a:pt x="0" y="2451"/>
                    </a:lnTo>
                    <a:lnTo>
                      <a:pt x="0" y="110502"/>
                    </a:lnTo>
                    <a:lnTo>
                      <a:pt x="24968" y="110502"/>
                    </a:lnTo>
                    <a:lnTo>
                      <a:pt x="24968" y="62280"/>
                    </a:lnTo>
                    <a:lnTo>
                      <a:pt x="25857" y="56045"/>
                    </a:lnTo>
                    <a:lnTo>
                      <a:pt x="51358" y="27495"/>
                    </a:lnTo>
                    <a:lnTo>
                      <a:pt x="56337" y="26606"/>
                    </a:lnTo>
                    <a:lnTo>
                      <a:pt x="63233" y="26606"/>
                    </a:lnTo>
                    <a:lnTo>
                      <a:pt x="63233" y="406"/>
                    </a:lnTo>
                    <a:lnTo>
                      <a:pt x="53682" y="0"/>
                    </a:lnTo>
                    <a:close/>
                  </a:path>
                </a:pathLst>
              </a:custGeom>
              <a:solidFill>
                <a:srgbClr val="221815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</p:grpSp>
        <p:grpSp>
          <p:nvGrpSpPr>
            <p:cNvPr id="70" name="object 55">
              <a:extLst>
                <a:ext uri="{FF2B5EF4-FFF2-40B4-BE49-F238E27FC236}">
                  <a16:creationId xmlns:a16="http://schemas.microsoft.com/office/drawing/2014/main" id="{789571C6-30A9-CC86-C5A8-38EDA684FE45}"/>
                </a:ext>
              </a:extLst>
            </p:cNvPr>
            <p:cNvGrpSpPr/>
            <p:nvPr/>
          </p:nvGrpSpPr>
          <p:grpSpPr>
            <a:xfrm>
              <a:off x="3598668" y="5386129"/>
              <a:ext cx="1113155" cy="182245"/>
              <a:chOff x="3598668" y="5386129"/>
              <a:chExt cx="1113155" cy="182245"/>
            </a:xfrm>
          </p:grpSpPr>
          <p:pic>
            <p:nvPicPr>
              <p:cNvPr id="80" name="object 56">
                <a:extLst>
                  <a:ext uri="{FF2B5EF4-FFF2-40B4-BE49-F238E27FC236}">
                    <a16:creationId xmlns:a16="http://schemas.microsoft.com/office/drawing/2014/main" id="{DDCA0170-6F59-58CE-12AB-EA0AC00F2043}"/>
                  </a:ext>
                </a:extLst>
              </p:cNvPr>
              <p:cNvPicPr/>
              <p:nvPr/>
            </p:nvPicPr>
            <p:blipFill>
              <a:blip r:embed="rId6" cstate="print"/>
              <a:stretch>
                <a:fillRect/>
              </a:stretch>
            </p:blipFill>
            <p:spPr>
              <a:xfrm>
                <a:off x="3598668" y="5389810"/>
                <a:ext cx="149796" cy="148158"/>
              </a:xfrm>
              <a:prstGeom prst="rect">
                <a:avLst/>
              </a:prstGeom>
            </p:spPr>
          </p:pic>
          <p:pic>
            <p:nvPicPr>
              <p:cNvPr id="81" name="object 57">
                <a:extLst>
                  <a:ext uri="{FF2B5EF4-FFF2-40B4-BE49-F238E27FC236}">
                    <a16:creationId xmlns:a16="http://schemas.microsoft.com/office/drawing/2014/main" id="{CEDD8D8D-C43C-2165-473B-F4A918C59D5D}"/>
                  </a:ext>
                </a:extLst>
              </p:cNvPr>
              <p:cNvPicPr/>
              <p:nvPr/>
            </p:nvPicPr>
            <p:blipFill>
              <a:blip r:embed="rId7" cstate="print"/>
              <a:stretch>
                <a:fillRect/>
              </a:stretch>
            </p:blipFill>
            <p:spPr>
              <a:xfrm>
                <a:off x="3770153" y="5427051"/>
                <a:ext cx="163093" cy="109283"/>
              </a:xfrm>
              <a:prstGeom prst="rect">
                <a:avLst/>
              </a:prstGeom>
            </p:spPr>
          </p:pic>
          <p:pic>
            <p:nvPicPr>
              <p:cNvPr id="82" name="object 58">
                <a:extLst>
                  <a:ext uri="{FF2B5EF4-FFF2-40B4-BE49-F238E27FC236}">
                    <a16:creationId xmlns:a16="http://schemas.microsoft.com/office/drawing/2014/main" id="{8619B8EE-6EE1-E273-E1D5-43CC0127030B}"/>
                  </a:ext>
                </a:extLst>
              </p:cNvPr>
              <p:cNvPicPr/>
              <p:nvPr/>
            </p:nvPicPr>
            <p:blipFill>
              <a:blip r:embed="rId8" cstate="print"/>
              <a:stretch>
                <a:fillRect/>
              </a:stretch>
            </p:blipFill>
            <p:spPr>
              <a:xfrm>
                <a:off x="3958411" y="5425217"/>
                <a:ext cx="97002" cy="110299"/>
              </a:xfrm>
              <a:prstGeom prst="rect">
                <a:avLst/>
              </a:prstGeom>
            </p:spPr>
          </p:pic>
          <p:pic>
            <p:nvPicPr>
              <p:cNvPr id="83" name="object 59">
                <a:extLst>
                  <a:ext uri="{FF2B5EF4-FFF2-40B4-BE49-F238E27FC236}">
                    <a16:creationId xmlns:a16="http://schemas.microsoft.com/office/drawing/2014/main" id="{BC25C08D-035D-0640-71A9-70A1C42552DB}"/>
                  </a:ext>
                </a:extLst>
              </p:cNvPr>
              <p:cNvPicPr/>
              <p:nvPr/>
            </p:nvPicPr>
            <p:blipFill>
              <a:blip r:embed="rId9" cstate="print"/>
              <a:stretch>
                <a:fillRect/>
              </a:stretch>
            </p:blipFill>
            <p:spPr>
              <a:xfrm>
                <a:off x="4082436" y="5425212"/>
                <a:ext cx="104559" cy="112763"/>
              </a:xfrm>
              <a:prstGeom prst="rect">
                <a:avLst/>
              </a:prstGeom>
            </p:spPr>
          </p:pic>
          <p:pic>
            <p:nvPicPr>
              <p:cNvPr id="84" name="object 60">
                <a:extLst>
                  <a:ext uri="{FF2B5EF4-FFF2-40B4-BE49-F238E27FC236}">
                    <a16:creationId xmlns:a16="http://schemas.microsoft.com/office/drawing/2014/main" id="{516AE770-D4E8-F6BD-201E-C3A4860FD704}"/>
                  </a:ext>
                </a:extLst>
              </p:cNvPr>
              <p:cNvPicPr/>
              <p:nvPr/>
            </p:nvPicPr>
            <p:blipFill>
              <a:blip r:embed="rId10" cstate="print"/>
              <a:stretch>
                <a:fillRect/>
              </a:stretch>
            </p:blipFill>
            <p:spPr>
              <a:xfrm>
                <a:off x="4215032" y="5425004"/>
                <a:ext cx="164739" cy="112561"/>
              </a:xfrm>
              <a:prstGeom prst="rect">
                <a:avLst/>
              </a:prstGeom>
            </p:spPr>
          </p:pic>
          <p:pic>
            <p:nvPicPr>
              <p:cNvPr id="85" name="object 61">
                <a:extLst>
                  <a:ext uri="{FF2B5EF4-FFF2-40B4-BE49-F238E27FC236}">
                    <a16:creationId xmlns:a16="http://schemas.microsoft.com/office/drawing/2014/main" id="{8781A7D5-6583-998F-696E-7E4998A10FD6}"/>
                  </a:ext>
                </a:extLst>
              </p:cNvPr>
              <p:cNvPicPr/>
              <p:nvPr/>
            </p:nvPicPr>
            <p:blipFill>
              <a:blip r:embed="rId11" cstate="print"/>
              <a:stretch>
                <a:fillRect/>
              </a:stretch>
            </p:blipFill>
            <p:spPr>
              <a:xfrm>
                <a:off x="4408001" y="5386129"/>
                <a:ext cx="97002" cy="149390"/>
              </a:xfrm>
              <a:prstGeom prst="rect">
                <a:avLst/>
              </a:prstGeom>
            </p:spPr>
          </p:pic>
          <p:sp>
            <p:nvSpPr>
              <p:cNvPr id="86" name="object 62">
                <a:extLst>
                  <a:ext uri="{FF2B5EF4-FFF2-40B4-BE49-F238E27FC236}">
                    <a16:creationId xmlns:a16="http://schemas.microsoft.com/office/drawing/2014/main" id="{87D4E6D4-F8EA-2A0D-99ED-6D107697729C}"/>
                  </a:ext>
                </a:extLst>
              </p:cNvPr>
              <p:cNvSpPr/>
              <p:nvPr/>
            </p:nvSpPr>
            <p:spPr>
              <a:xfrm>
                <a:off x="4538370" y="5387365"/>
                <a:ext cx="27305" cy="148590"/>
              </a:xfrm>
              <a:custGeom>
                <a:avLst/>
                <a:gdLst/>
                <a:ahLst/>
                <a:cxnLst/>
                <a:rect l="l" t="t" r="r" b="b"/>
                <a:pathLst>
                  <a:path w="27304" h="148589">
                    <a:moveTo>
                      <a:pt x="25984" y="40106"/>
                    </a:moveTo>
                    <a:lnTo>
                      <a:pt x="1016" y="40106"/>
                    </a:lnTo>
                    <a:lnTo>
                      <a:pt x="1016" y="148158"/>
                    </a:lnTo>
                    <a:lnTo>
                      <a:pt x="25984" y="148158"/>
                    </a:lnTo>
                    <a:lnTo>
                      <a:pt x="25984" y="40106"/>
                    </a:lnTo>
                    <a:close/>
                  </a:path>
                  <a:path w="27304" h="148589">
                    <a:moveTo>
                      <a:pt x="26797" y="0"/>
                    </a:moveTo>
                    <a:lnTo>
                      <a:pt x="0" y="0"/>
                    </a:lnTo>
                    <a:lnTo>
                      <a:pt x="0" y="23533"/>
                    </a:lnTo>
                    <a:lnTo>
                      <a:pt x="26797" y="23533"/>
                    </a:lnTo>
                    <a:lnTo>
                      <a:pt x="26797" y="0"/>
                    </a:lnTo>
                    <a:close/>
                  </a:path>
                </a:pathLst>
              </a:custGeom>
              <a:solidFill>
                <a:srgbClr val="221815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pic>
            <p:nvPicPr>
              <p:cNvPr id="87" name="object 63">
                <a:extLst>
                  <a:ext uri="{FF2B5EF4-FFF2-40B4-BE49-F238E27FC236}">
                    <a16:creationId xmlns:a16="http://schemas.microsoft.com/office/drawing/2014/main" id="{3FA5B378-7BB9-0452-899D-DDF65A0CFBED}"/>
                  </a:ext>
                </a:extLst>
              </p:cNvPr>
              <p:cNvPicPr/>
              <p:nvPr/>
            </p:nvPicPr>
            <p:blipFill>
              <a:blip r:embed="rId12" cstate="print"/>
              <a:stretch>
                <a:fillRect/>
              </a:stretch>
            </p:blipFill>
            <p:spPr>
              <a:xfrm>
                <a:off x="4599562" y="5425219"/>
                <a:ext cx="111721" cy="143040"/>
              </a:xfrm>
              <a:prstGeom prst="rect">
                <a:avLst/>
              </a:prstGeom>
            </p:spPr>
          </p:pic>
        </p:grpSp>
        <p:pic>
          <p:nvPicPr>
            <p:cNvPr id="71" name="object 64">
              <a:extLst>
                <a:ext uri="{FF2B5EF4-FFF2-40B4-BE49-F238E27FC236}">
                  <a16:creationId xmlns:a16="http://schemas.microsoft.com/office/drawing/2014/main" id="{FD4998B6-4886-D09C-A614-C0105268189E}"/>
                </a:ext>
              </a:extLst>
            </p:cNvPr>
            <p:cNvPicPr/>
            <p:nvPr/>
          </p:nvPicPr>
          <p:blipFill>
            <a:blip r:embed="rId13" cstate="print"/>
            <a:stretch>
              <a:fillRect/>
            </a:stretch>
          </p:blipFill>
          <p:spPr>
            <a:xfrm>
              <a:off x="2806094" y="5632719"/>
              <a:ext cx="1334244" cy="176400"/>
            </a:xfrm>
            <a:prstGeom prst="rect">
              <a:avLst/>
            </a:prstGeom>
          </p:spPr>
        </p:pic>
        <p:grpSp>
          <p:nvGrpSpPr>
            <p:cNvPr id="72" name="object 65">
              <a:extLst>
                <a:ext uri="{FF2B5EF4-FFF2-40B4-BE49-F238E27FC236}">
                  <a16:creationId xmlns:a16="http://schemas.microsoft.com/office/drawing/2014/main" id="{A49CE064-21CD-6955-3119-E0426521CC90}"/>
                </a:ext>
              </a:extLst>
            </p:cNvPr>
            <p:cNvGrpSpPr/>
            <p:nvPr/>
          </p:nvGrpSpPr>
          <p:grpSpPr>
            <a:xfrm>
              <a:off x="4223223" y="5626578"/>
              <a:ext cx="670560" cy="151765"/>
              <a:chOff x="4223223" y="5626578"/>
              <a:chExt cx="670560" cy="151765"/>
            </a:xfrm>
          </p:grpSpPr>
          <p:pic>
            <p:nvPicPr>
              <p:cNvPr id="78" name="object 66">
                <a:extLst>
                  <a:ext uri="{FF2B5EF4-FFF2-40B4-BE49-F238E27FC236}">
                    <a16:creationId xmlns:a16="http://schemas.microsoft.com/office/drawing/2014/main" id="{2C219D13-FB67-1052-249C-9F80BD88DF26}"/>
                  </a:ext>
                </a:extLst>
              </p:cNvPr>
              <p:cNvPicPr/>
              <p:nvPr/>
            </p:nvPicPr>
            <p:blipFill>
              <a:blip r:embed="rId14" cstate="print"/>
              <a:stretch>
                <a:fillRect/>
              </a:stretch>
            </p:blipFill>
            <p:spPr>
              <a:xfrm>
                <a:off x="4223223" y="5631704"/>
                <a:ext cx="444056" cy="146517"/>
              </a:xfrm>
              <a:prstGeom prst="rect">
                <a:avLst/>
              </a:prstGeom>
            </p:spPr>
          </p:pic>
          <p:pic>
            <p:nvPicPr>
              <p:cNvPr id="79" name="object 67">
                <a:extLst>
                  <a:ext uri="{FF2B5EF4-FFF2-40B4-BE49-F238E27FC236}">
                    <a16:creationId xmlns:a16="http://schemas.microsoft.com/office/drawing/2014/main" id="{C6DF8988-7D47-4C88-AA69-03568BAD117F}"/>
                  </a:ext>
                </a:extLst>
              </p:cNvPr>
              <p:cNvPicPr/>
              <p:nvPr/>
            </p:nvPicPr>
            <p:blipFill>
              <a:blip r:embed="rId15" cstate="print"/>
              <a:stretch>
                <a:fillRect/>
              </a:stretch>
            </p:blipFill>
            <p:spPr>
              <a:xfrm>
                <a:off x="4699816" y="5626578"/>
                <a:ext cx="193794" cy="151637"/>
              </a:xfrm>
              <a:prstGeom prst="rect">
                <a:avLst/>
              </a:prstGeom>
            </p:spPr>
          </p:pic>
        </p:grpSp>
        <p:pic>
          <p:nvPicPr>
            <p:cNvPr id="73" name="object 68">
              <a:extLst>
                <a:ext uri="{FF2B5EF4-FFF2-40B4-BE49-F238E27FC236}">
                  <a16:creationId xmlns:a16="http://schemas.microsoft.com/office/drawing/2014/main" id="{D03C1A74-6B1B-4A44-6082-7FEE8877B95F}"/>
                </a:ext>
              </a:extLst>
            </p:cNvPr>
            <p:cNvPicPr/>
            <p:nvPr/>
          </p:nvPicPr>
          <p:blipFill>
            <a:blip r:embed="rId16" cstate="print"/>
            <a:stretch>
              <a:fillRect/>
            </a:stretch>
          </p:blipFill>
          <p:spPr>
            <a:xfrm>
              <a:off x="1879156" y="5498016"/>
              <a:ext cx="131203" cy="197561"/>
            </a:xfrm>
            <a:prstGeom prst="rect">
              <a:avLst/>
            </a:prstGeom>
          </p:spPr>
        </p:pic>
        <p:grpSp>
          <p:nvGrpSpPr>
            <p:cNvPr id="74" name="object 69">
              <a:extLst>
                <a:ext uri="{FF2B5EF4-FFF2-40B4-BE49-F238E27FC236}">
                  <a16:creationId xmlns:a16="http://schemas.microsoft.com/office/drawing/2014/main" id="{0FFE27A5-07D1-2D3A-6A6F-0D92912944C6}"/>
                </a:ext>
              </a:extLst>
            </p:cNvPr>
            <p:cNvGrpSpPr/>
            <p:nvPr/>
          </p:nvGrpSpPr>
          <p:grpSpPr>
            <a:xfrm>
              <a:off x="2057979" y="5498016"/>
              <a:ext cx="368300" cy="200660"/>
              <a:chOff x="2057979" y="5498016"/>
              <a:chExt cx="368300" cy="200660"/>
            </a:xfrm>
          </p:grpSpPr>
          <p:pic>
            <p:nvPicPr>
              <p:cNvPr id="76" name="object 70">
                <a:extLst>
                  <a:ext uri="{FF2B5EF4-FFF2-40B4-BE49-F238E27FC236}">
                    <a16:creationId xmlns:a16="http://schemas.microsoft.com/office/drawing/2014/main" id="{E48A2942-2BC2-AF05-2D8D-44D817643524}"/>
                  </a:ext>
                </a:extLst>
              </p:cNvPr>
              <p:cNvPicPr/>
              <p:nvPr/>
            </p:nvPicPr>
            <p:blipFill>
              <a:blip r:embed="rId17" cstate="print"/>
              <a:stretch>
                <a:fillRect/>
              </a:stretch>
            </p:blipFill>
            <p:spPr>
              <a:xfrm>
                <a:off x="2057979" y="5499087"/>
                <a:ext cx="199440" cy="199453"/>
              </a:xfrm>
              <a:prstGeom prst="rect">
                <a:avLst/>
              </a:prstGeom>
            </p:spPr>
          </p:pic>
          <p:pic>
            <p:nvPicPr>
              <p:cNvPr id="77" name="object 71">
                <a:extLst>
                  <a:ext uri="{FF2B5EF4-FFF2-40B4-BE49-F238E27FC236}">
                    <a16:creationId xmlns:a16="http://schemas.microsoft.com/office/drawing/2014/main" id="{0F51DD7F-6373-2A1C-2BDF-48308ECCF61A}"/>
                  </a:ext>
                </a:extLst>
              </p:cNvPr>
              <p:cNvPicPr/>
              <p:nvPr/>
            </p:nvPicPr>
            <p:blipFill>
              <a:blip r:embed="rId18" cstate="print"/>
              <a:stretch>
                <a:fillRect/>
              </a:stretch>
            </p:blipFill>
            <p:spPr>
              <a:xfrm>
                <a:off x="2294486" y="5498016"/>
                <a:ext cx="131203" cy="197561"/>
              </a:xfrm>
              <a:prstGeom prst="rect">
                <a:avLst/>
              </a:prstGeom>
            </p:spPr>
          </p:pic>
        </p:grpSp>
        <p:pic>
          <p:nvPicPr>
            <p:cNvPr id="75" name="object 72">
              <a:extLst>
                <a:ext uri="{FF2B5EF4-FFF2-40B4-BE49-F238E27FC236}">
                  <a16:creationId xmlns:a16="http://schemas.microsoft.com/office/drawing/2014/main" id="{8035A183-A0CF-7971-FA3D-7EB434F88B59}"/>
                </a:ext>
              </a:extLst>
            </p:cNvPr>
            <p:cNvPicPr/>
            <p:nvPr/>
          </p:nvPicPr>
          <p:blipFill>
            <a:blip r:embed="rId19" cstate="print"/>
            <a:stretch>
              <a:fillRect/>
            </a:stretch>
          </p:blipFill>
          <p:spPr>
            <a:xfrm>
              <a:off x="2481940" y="5501791"/>
              <a:ext cx="132651" cy="1966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0132072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エントリーシート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正方形/長方形 6">
            <a:extLst>
              <a:ext uri="{FF2B5EF4-FFF2-40B4-BE49-F238E27FC236}">
                <a16:creationId xmlns:a16="http://schemas.microsoft.com/office/drawing/2014/main" id="{0082205D-CDBB-B87F-3E90-F66B4FB81FCA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sz="2117"/>
          </a:p>
        </p:txBody>
      </p:sp>
      <p:sp>
        <p:nvSpPr>
          <p:cNvPr id="2" name="正方形/長方形 1">
            <a:extLst>
              <a:ext uri="{FF2B5EF4-FFF2-40B4-BE49-F238E27FC236}">
                <a16:creationId xmlns:a16="http://schemas.microsoft.com/office/drawing/2014/main" id="{C0A4086F-9341-3260-1254-7C396FB981CB}"/>
              </a:ext>
            </a:extLst>
          </p:cNvPr>
          <p:cNvSpPr/>
          <p:nvPr userDrawn="1"/>
        </p:nvSpPr>
        <p:spPr>
          <a:xfrm>
            <a:off x="275852" y="463086"/>
            <a:ext cx="11640301" cy="336248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4418">
              <a:defRPr/>
            </a:pPr>
            <a:r>
              <a:rPr lang="ja-JP" altLang="en-US" sz="1050" b="1">
                <a:solidFill>
                  <a:prstClr val="white"/>
                </a:solidFill>
                <a:latin typeface="游ゴシック" panose="020F0502020204030204"/>
                <a:ea typeface="游ゴシック" panose="020B0400000000000000" pitchFamily="50" charset="-128"/>
              </a:rPr>
              <a:t>参考資料添付①　</a:t>
            </a:r>
            <a:r>
              <a:rPr lang="en-US" altLang="ja-JP" sz="1050">
                <a:solidFill>
                  <a:prstClr val="white"/>
                </a:solidFill>
                <a:latin typeface="游ゴシック" panose="020F0502020204030204"/>
                <a:ea typeface="游ゴシック" panose="020B0400000000000000" pitchFamily="50" charset="-128"/>
              </a:rPr>
              <a:t>※</a:t>
            </a:r>
            <a:r>
              <a:rPr lang="ja-JP" altLang="en-US" sz="1050">
                <a:solidFill>
                  <a:prstClr val="white"/>
                </a:solidFill>
                <a:latin typeface="游ゴシック" panose="020F0502020204030204"/>
                <a:ea typeface="游ゴシック" panose="020B0400000000000000" pitchFamily="50" charset="-128"/>
              </a:rPr>
              <a:t>参考資料は</a:t>
            </a:r>
            <a:r>
              <a:rPr lang="en-US" altLang="ja-JP" sz="1050">
                <a:solidFill>
                  <a:prstClr val="white"/>
                </a:solidFill>
                <a:latin typeface="游ゴシック" panose="020F0502020204030204"/>
                <a:ea typeface="游ゴシック" panose="020B0400000000000000" pitchFamily="50" charset="-128"/>
              </a:rPr>
              <a:t>3</a:t>
            </a:r>
            <a:r>
              <a:rPr lang="ja-JP" altLang="en-US" sz="1050">
                <a:solidFill>
                  <a:prstClr val="white"/>
                </a:solidFill>
                <a:latin typeface="游ゴシック" panose="020F0502020204030204"/>
                <a:ea typeface="游ゴシック" panose="020B0400000000000000" pitchFamily="50" charset="-128"/>
              </a:rPr>
              <a:t>枚まで添付可能です。</a:t>
            </a:r>
          </a:p>
        </p:txBody>
      </p:sp>
      <p:sp>
        <p:nvSpPr>
          <p:cNvPr id="3" name="正方形/長方形 2">
            <a:extLst>
              <a:ext uri="{FF2B5EF4-FFF2-40B4-BE49-F238E27FC236}">
                <a16:creationId xmlns:a16="http://schemas.microsoft.com/office/drawing/2014/main" id="{9F7922C1-2AE1-97A9-F17C-A21EF5851C5E}"/>
              </a:ext>
            </a:extLst>
          </p:cNvPr>
          <p:cNvSpPr/>
          <p:nvPr userDrawn="1"/>
        </p:nvSpPr>
        <p:spPr>
          <a:xfrm>
            <a:off x="275852" y="799334"/>
            <a:ext cx="11640301" cy="5869754"/>
          </a:xfrm>
          <a:prstGeom prst="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4418">
              <a:defRPr/>
            </a:pPr>
            <a:endParaRPr lang="ja-JP" altLang="en-US" sz="1050">
              <a:solidFill>
                <a:prstClr val="black"/>
              </a:solidFill>
              <a:latin typeface="游ゴシック" panose="020F0502020204030204"/>
              <a:ea typeface="游ゴシック" panose="020B0400000000000000" pitchFamily="50" charset="-128"/>
            </a:endParaRPr>
          </a:p>
        </p:txBody>
      </p:sp>
      <p:grpSp>
        <p:nvGrpSpPr>
          <p:cNvPr id="35" name="グループ化 34">
            <a:extLst>
              <a:ext uri="{FF2B5EF4-FFF2-40B4-BE49-F238E27FC236}">
                <a16:creationId xmlns:a16="http://schemas.microsoft.com/office/drawing/2014/main" id="{936C03D1-9880-1AA3-2F69-4011046FAA9D}"/>
              </a:ext>
            </a:extLst>
          </p:cNvPr>
          <p:cNvGrpSpPr/>
          <p:nvPr userDrawn="1"/>
        </p:nvGrpSpPr>
        <p:grpSpPr>
          <a:xfrm>
            <a:off x="10122799" y="111307"/>
            <a:ext cx="1793284" cy="301028"/>
            <a:chOff x="513270" y="5229997"/>
            <a:chExt cx="4380513" cy="735330"/>
          </a:xfrm>
        </p:grpSpPr>
        <p:grpSp>
          <p:nvGrpSpPr>
            <p:cNvPr id="36" name="object 45">
              <a:extLst>
                <a:ext uri="{FF2B5EF4-FFF2-40B4-BE49-F238E27FC236}">
                  <a16:creationId xmlns:a16="http://schemas.microsoft.com/office/drawing/2014/main" id="{486270C6-073E-D766-1F2A-D817CE921167}"/>
                </a:ext>
              </a:extLst>
            </p:cNvPr>
            <p:cNvGrpSpPr/>
            <p:nvPr/>
          </p:nvGrpSpPr>
          <p:grpSpPr>
            <a:xfrm>
              <a:off x="513270" y="5229997"/>
              <a:ext cx="1193165" cy="735330"/>
              <a:chOff x="513270" y="5229997"/>
              <a:chExt cx="1193165" cy="735330"/>
            </a:xfrm>
          </p:grpSpPr>
          <p:pic>
            <p:nvPicPr>
              <p:cNvPr id="62" name="object 46">
                <a:extLst>
                  <a:ext uri="{FF2B5EF4-FFF2-40B4-BE49-F238E27FC236}">
                    <a16:creationId xmlns:a16="http://schemas.microsoft.com/office/drawing/2014/main" id="{E6C93B75-1B5A-7F03-4DA9-CA28DD1B87F4}"/>
                  </a:ext>
                </a:extLst>
              </p:cNvPr>
              <p:cNvPicPr/>
              <p:nvPr/>
            </p:nvPicPr>
            <p:blipFill>
              <a:blip r:embed="rId2" cstate="print"/>
              <a:stretch>
                <a:fillRect/>
              </a:stretch>
            </p:blipFill>
            <p:spPr>
              <a:xfrm>
                <a:off x="513270" y="5229999"/>
                <a:ext cx="596315" cy="735253"/>
              </a:xfrm>
              <a:prstGeom prst="rect">
                <a:avLst/>
              </a:prstGeom>
            </p:spPr>
          </p:pic>
          <p:sp>
            <p:nvSpPr>
              <p:cNvPr id="63" name="object 47">
                <a:extLst>
                  <a:ext uri="{FF2B5EF4-FFF2-40B4-BE49-F238E27FC236}">
                    <a16:creationId xmlns:a16="http://schemas.microsoft.com/office/drawing/2014/main" id="{633BAAE0-363B-B37E-C905-9F93CC899916}"/>
                  </a:ext>
                </a:extLst>
              </p:cNvPr>
              <p:cNvSpPr/>
              <p:nvPr/>
            </p:nvSpPr>
            <p:spPr>
              <a:xfrm>
                <a:off x="970751" y="5229997"/>
                <a:ext cx="735330" cy="735330"/>
              </a:xfrm>
              <a:custGeom>
                <a:avLst/>
                <a:gdLst/>
                <a:ahLst/>
                <a:cxnLst/>
                <a:rect l="l" t="t" r="r" b="b"/>
                <a:pathLst>
                  <a:path w="735330" h="735329">
                    <a:moveTo>
                      <a:pt x="367626" y="0"/>
                    </a:moveTo>
                    <a:lnTo>
                      <a:pt x="321512" y="2864"/>
                    </a:lnTo>
                    <a:lnTo>
                      <a:pt x="277107" y="11227"/>
                    </a:lnTo>
                    <a:lnTo>
                      <a:pt x="234756" y="24745"/>
                    </a:lnTo>
                    <a:lnTo>
                      <a:pt x="194803" y="43073"/>
                    </a:lnTo>
                    <a:lnTo>
                      <a:pt x="157593" y="65866"/>
                    </a:lnTo>
                    <a:lnTo>
                      <a:pt x="123471" y="92780"/>
                    </a:lnTo>
                    <a:lnTo>
                      <a:pt x="92780" y="123471"/>
                    </a:lnTo>
                    <a:lnTo>
                      <a:pt x="65866" y="157593"/>
                    </a:lnTo>
                    <a:lnTo>
                      <a:pt x="43073" y="194803"/>
                    </a:lnTo>
                    <a:lnTo>
                      <a:pt x="24745" y="234756"/>
                    </a:lnTo>
                    <a:lnTo>
                      <a:pt x="11227" y="277107"/>
                    </a:lnTo>
                    <a:lnTo>
                      <a:pt x="2864" y="321512"/>
                    </a:lnTo>
                    <a:lnTo>
                      <a:pt x="0" y="367626"/>
                    </a:lnTo>
                    <a:lnTo>
                      <a:pt x="2852" y="413548"/>
                    </a:lnTo>
                    <a:lnTo>
                      <a:pt x="2864" y="413741"/>
                    </a:lnTo>
                    <a:lnTo>
                      <a:pt x="11227" y="458146"/>
                    </a:lnTo>
                    <a:lnTo>
                      <a:pt x="24745" y="500497"/>
                    </a:lnTo>
                    <a:lnTo>
                      <a:pt x="43073" y="540450"/>
                    </a:lnTo>
                    <a:lnTo>
                      <a:pt x="65866" y="577660"/>
                    </a:lnTo>
                    <a:lnTo>
                      <a:pt x="92780" y="611782"/>
                    </a:lnTo>
                    <a:lnTo>
                      <a:pt x="123471" y="642473"/>
                    </a:lnTo>
                    <a:lnTo>
                      <a:pt x="157593" y="669387"/>
                    </a:lnTo>
                    <a:lnTo>
                      <a:pt x="194803" y="692180"/>
                    </a:lnTo>
                    <a:lnTo>
                      <a:pt x="234756" y="710508"/>
                    </a:lnTo>
                    <a:lnTo>
                      <a:pt x="277107" y="724026"/>
                    </a:lnTo>
                    <a:lnTo>
                      <a:pt x="321512" y="732389"/>
                    </a:lnTo>
                    <a:lnTo>
                      <a:pt x="367626" y="735253"/>
                    </a:lnTo>
                    <a:lnTo>
                      <a:pt x="413741" y="732389"/>
                    </a:lnTo>
                    <a:lnTo>
                      <a:pt x="458146" y="724026"/>
                    </a:lnTo>
                    <a:lnTo>
                      <a:pt x="500497" y="710508"/>
                    </a:lnTo>
                    <a:lnTo>
                      <a:pt x="540450" y="692180"/>
                    </a:lnTo>
                    <a:lnTo>
                      <a:pt x="577660" y="669387"/>
                    </a:lnTo>
                    <a:lnTo>
                      <a:pt x="611782" y="642473"/>
                    </a:lnTo>
                    <a:lnTo>
                      <a:pt x="642473" y="611782"/>
                    </a:lnTo>
                    <a:lnTo>
                      <a:pt x="669387" y="577660"/>
                    </a:lnTo>
                    <a:lnTo>
                      <a:pt x="675214" y="568147"/>
                    </a:lnTo>
                    <a:lnTo>
                      <a:pt x="367626" y="568147"/>
                    </a:lnTo>
                    <a:lnTo>
                      <a:pt x="321706" y="562841"/>
                    </a:lnTo>
                    <a:lnTo>
                      <a:pt x="279523" y="547734"/>
                    </a:lnTo>
                    <a:lnTo>
                      <a:pt x="242291" y="524039"/>
                    </a:lnTo>
                    <a:lnTo>
                      <a:pt x="211222" y="492967"/>
                    </a:lnTo>
                    <a:lnTo>
                      <a:pt x="187529" y="455732"/>
                    </a:lnTo>
                    <a:lnTo>
                      <a:pt x="172492" y="413741"/>
                    </a:lnTo>
                    <a:lnTo>
                      <a:pt x="167119" y="367626"/>
                    </a:lnTo>
                    <a:lnTo>
                      <a:pt x="172423" y="321706"/>
                    </a:lnTo>
                    <a:lnTo>
                      <a:pt x="187529" y="279523"/>
                    </a:lnTo>
                    <a:lnTo>
                      <a:pt x="211222" y="242291"/>
                    </a:lnTo>
                    <a:lnTo>
                      <a:pt x="242291" y="211222"/>
                    </a:lnTo>
                    <a:lnTo>
                      <a:pt x="279523" y="187529"/>
                    </a:lnTo>
                    <a:lnTo>
                      <a:pt x="321706" y="172423"/>
                    </a:lnTo>
                    <a:lnTo>
                      <a:pt x="367626" y="167119"/>
                    </a:lnTo>
                    <a:lnTo>
                      <a:pt x="675222" y="167119"/>
                    </a:lnTo>
                    <a:lnTo>
                      <a:pt x="669387" y="157593"/>
                    </a:lnTo>
                    <a:lnTo>
                      <a:pt x="642473" y="123471"/>
                    </a:lnTo>
                    <a:lnTo>
                      <a:pt x="611782" y="92780"/>
                    </a:lnTo>
                    <a:lnTo>
                      <a:pt x="577660" y="65866"/>
                    </a:lnTo>
                    <a:lnTo>
                      <a:pt x="540450" y="43073"/>
                    </a:lnTo>
                    <a:lnTo>
                      <a:pt x="500497" y="24745"/>
                    </a:lnTo>
                    <a:lnTo>
                      <a:pt x="458146" y="11227"/>
                    </a:lnTo>
                    <a:lnTo>
                      <a:pt x="413741" y="2864"/>
                    </a:lnTo>
                    <a:lnTo>
                      <a:pt x="367626" y="0"/>
                    </a:lnTo>
                    <a:close/>
                  </a:path>
                  <a:path w="735330" h="735329">
                    <a:moveTo>
                      <a:pt x="675222" y="167119"/>
                    </a:moveTo>
                    <a:lnTo>
                      <a:pt x="367626" y="167119"/>
                    </a:lnTo>
                    <a:lnTo>
                      <a:pt x="413547" y="172423"/>
                    </a:lnTo>
                    <a:lnTo>
                      <a:pt x="455730" y="187529"/>
                    </a:lnTo>
                    <a:lnTo>
                      <a:pt x="492962" y="211222"/>
                    </a:lnTo>
                    <a:lnTo>
                      <a:pt x="524031" y="242291"/>
                    </a:lnTo>
                    <a:lnTo>
                      <a:pt x="547724" y="279523"/>
                    </a:lnTo>
                    <a:lnTo>
                      <a:pt x="562760" y="321512"/>
                    </a:lnTo>
                    <a:lnTo>
                      <a:pt x="562829" y="321706"/>
                    </a:lnTo>
                    <a:lnTo>
                      <a:pt x="568134" y="367626"/>
                    </a:lnTo>
                    <a:lnTo>
                      <a:pt x="562829" y="413548"/>
                    </a:lnTo>
                    <a:lnTo>
                      <a:pt x="547724" y="455732"/>
                    </a:lnTo>
                    <a:lnTo>
                      <a:pt x="524031" y="492967"/>
                    </a:lnTo>
                    <a:lnTo>
                      <a:pt x="492962" y="524039"/>
                    </a:lnTo>
                    <a:lnTo>
                      <a:pt x="455730" y="547734"/>
                    </a:lnTo>
                    <a:lnTo>
                      <a:pt x="413547" y="562841"/>
                    </a:lnTo>
                    <a:lnTo>
                      <a:pt x="367626" y="568147"/>
                    </a:lnTo>
                    <a:lnTo>
                      <a:pt x="675214" y="568147"/>
                    </a:lnTo>
                    <a:lnTo>
                      <a:pt x="710508" y="500497"/>
                    </a:lnTo>
                    <a:lnTo>
                      <a:pt x="724026" y="458146"/>
                    </a:lnTo>
                    <a:lnTo>
                      <a:pt x="732389" y="413741"/>
                    </a:lnTo>
                    <a:lnTo>
                      <a:pt x="735253" y="367626"/>
                    </a:lnTo>
                    <a:lnTo>
                      <a:pt x="732401" y="321706"/>
                    </a:lnTo>
                    <a:lnTo>
                      <a:pt x="732389" y="321512"/>
                    </a:lnTo>
                    <a:lnTo>
                      <a:pt x="724026" y="277107"/>
                    </a:lnTo>
                    <a:lnTo>
                      <a:pt x="710508" y="234756"/>
                    </a:lnTo>
                    <a:lnTo>
                      <a:pt x="692180" y="194803"/>
                    </a:lnTo>
                    <a:lnTo>
                      <a:pt x="675222" y="167119"/>
                    </a:lnTo>
                    <a:close/>
                  </a:path>
                </a:pathLst>
              </a:custGeom>
              <a:solidFill>
                <a:srgbClr val="221815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</p:grpSp>
        <p:grpSp>
          <p:nvGrpSpPr>
            <p:cNvPr id="37" name="object 48">
              <a:extLst>
                <a:ext uri="{FF2B5EF4-FFF2-40B4-BE49-F238E27FC236}">
                  <a16:creationId xmlns:a16="http://schemas.microsoft.com/office/drawing/2014/main" id="{C63FE709-97FE-0F5B-F2E4-94CEDA441F61}"/>
                </a:ext>
              </a:extLst>
            </p:cNvPr>
            <p:cNvGrpSpPr/>
            <p:nvPr/>
          </p:nvGrpSpPr>
          <p:grpSpPr>
            <a:xfrm>
              <a:off x="2799749" y="5389816"/>
              <a:ext cx="705485" cy="148590"/>
              <a:chOff x="2799749" y="5389816"/>
              <a:chExt cx="705485" cy="148590"/>
            </a:xfrm>
          </p:grpSpPr>
          <p:pic>
            <p:nvPicPr>
              <p:cNvPr id="56" name="object 49">
                <a:extLst>
                  <a:ext uri="{FF2B5EF4-FFF2-40B4-BE49-F238E27FC236}">
                    <a16:creationId xmlns:a16="http://schemas.microsoft.com/office/drawing/2014/main" id="{336BC3F0-511E-7A4B-9BE2-12E3CE947C85}"/>
                  </a:ext>
                </a:extLst>
              </p:cNvPr>
              <p:cNvPicPr/>
              <p:nvPr/>
            </p:nvPicPr>
            <p:blipFill>
              <a:blip r:embed="rId3" cstate="print"/>
              <a:stretch>
                <a:fillRect/>
              </a:stretch>
            </p:blipFill>
            <p:spPr>
              <a:xfrm>
                <a:off x="2799749" y="5389816"/>
                <a:ext cx="130962" cy="148158"/>
              </a:xfrm>
              <a:prstGeom prst="rect">
                <a:avLst/>
              </a:prstGeom>
            </p:spPr>
          </p:pic>
          <p:pic>
            <p:nvPicPr>
              <p:cNvPr id="57" name="object 50">
                <a:extLst>
                  <a:ext uri="{FF2B5EF4-FFF2-40B4-BE49-F238E27FC236}">
                    <a16:creationId xmlns:a16="http://schemas.microsoft.com/office/drawing/2014/main" id="{1CD2C802-A295-5D80-DB37-3B8129FF45BF}"/>
                  </a:ext>
                </a:extLst>
              </p:cNvPr>
              <p:cNvPicPr/>
              <p:nvPr/>
            </p:nvPicPr>
            <p:blipFill>
              <a:blip r:embed="rId4" cstate="print"/>
              <a:stretch>
                <a:fillRect/>
              </a:stretch>
            </p:blipFill>
            <p:spPr>
              <a:xfrm>
                <a:off x="2954046" y="5425837"/>
                <a:ext cx="98018" cy="111925"/>
              </a:xfrm>
              <a:prstGeom prst="rect">
                <a:avLst/>
              </a:prstGeom>
            </p:spPr>
          </p:pic>
          <p:sp>
            <p:nvSpPr>
              <p:cNvPr id="58" name="object 51">
                <a:extLst>
                  <a:ext uri="{FF2B5EF4-FFF2-40B4-BE49-F238E27FC236}">
                    <a16:creationId xmlns:a16="http://schemas.microsoft.com/office/drawing/2014/main" id="{18ECB304-9365-0DE4-A588-2E8C6139D768}"/>
                  </a:ext>
                </a:extLst>
              </p:cNvPr>
              <p:cNvSpPr/>
              <p:nvPr/>
            </p:nvSpPr>
            <p:spPr>
              <a:xfrm>
                <a:off x="3088694" y="5425004"/>
                <a:ext cx="63500" cy="111125"/>
              </a:xfrm>
              <a:custGeom>
                <a:avLst/>
                <a:gdLst/>
                <a:ahLst/>
                <a:cxnLst/>
                <a:rect l="l" t="t" r="r" b="b"/>
                <a:pathLst>
                  <a:path w="63500" h="111125">
                    <a:moveTo>
                      <a:pt x="53682" y="0"/>
                    </a:moveTo>
                    <a:lnTo>
                      <a:pt x="45770" y="2260"/>
                    </a:lnTo>
                    <a:lnTo>
                      <a:pt x="33223" y="12077"/>
                    </a:lnTo>
                    <a:lnTo>
                      <a:pt x="28384" y="18630"/>
                    </a:lnTo>
                    <a:lnTo>
                      <a:pt x="24968" y="26809"/>
                    </a:lnTo>
                    <a:lnTo>
                      <a:pt x="24968" y="2463"/>
                    </a:lnTo>
                    <a:lnTo>
                      <a:pt x="0" y="2463"/>
                    </a:lnTo>
                    <a:lnTo>
                      <a:pt x="0" y="110515"/>
                    </a:lnTo>
                    <a:lnTo>
                      <a:pt x="24968" y="110515"/>
                    </a:lnTo>
                    <a:lnTo>
                      <a:pt x="24968" y="69380"/>
                    </a:lnTo>
                    <a:lnTo>
                      <a:pt x="24968" y="62293"/>
                    </a:lnTo>
                    <a:lnTo>
                      <a:pt x="51371" y="27495"/>
                    </a:lnTo>
                    <a:lnTo>
                      <a:pt x="56349" y="26619"/>
                    </a:lnTo>
                    <a:lnTo>
                      <a:pt x="63233" y="26619"/>
                    </a:lnTo>
                    <a:lnTo>
                      <a:pt x="63233" y="419"/>
                    </a:lnTo>
                    <a:lnTo>
                      <a:pt x="53682" y="0"/>
                    </a:lnTo>
                    <a:close/>
                  </a:path>
                </a:pathLst>
              </a:custGeom>
              <a:solidFill>
                <a:srgbClr val="221815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pic>
            <p:nvPicPr>
              <p:cNvPr id="59" name="object 52">
                <a:extLst>
                  <a:ext uri="{FF2B5EF4-FFF2-40B4-BE49-F238E27FC236}">
                    <a16:creationId xmlns:a16="http://schemas.microsoft.com/office/drawing/2014/main" id="{129804BE-13BC-18E0-0A7D-B2DCC1DEED70}"/>
                  </a:ext>
                </a:extLst>
              </p:cNvPr>
              <p:cNvPicPr/>
              <p:nvPr/>
            </p:nvPicPr>
            <p:blipFill>
              <a:blip r:embed="rId5" cstate="print"/>
              <a:stretch>
                <a:fillRect/>
              </a:stretch>
            </p:blipFill>
            <p:spPr>
              <a:xfrm>
                <a:off x="3174443" y="5425211"/>
                <a:ext cx="104571" cy="112763"/>
              </a:xfrm>
              <a:prstGeom prst="rect">
                <a:avLst/>
              </a:prstGeom>
            </p:spPr>
          </p:pic>
          <p:pic>
            <p:nvPicPr>
              <p:cNvPr id="60" name="object 53">
                <a:extLst>
                  <a:ext uri="{FF2B5EF4-FFF2-40B4-BE49-F238E27FC236}">
                    <a16:creationId xmlns:a16="http://schemas.microsoft.com/office/drawing/2014/main" id="{7D231699-E65B-D463-20DE-CD749C2E428A}"/>
                  </a:ext>
                </a:extLst>
              </p:cNvPr>
              <p:cNvPicPr/>
              <p:nvPr/>
            </p:nvPicPr>
            <p:blipFill>
              <a:blip r:embed="rId5" cstate="print"/>
              <a:stretch>
                <a:fillRect/>
              </a:stretch>
            </p:blipFill>
            <p:spPr>
              <a:xfrm>
                <a:off x="3305204" y="5425211"/>
                <a:ext cx="104571" cy="112763"/>
              </a:xfrm>
              <a:prstGeom prst="rect">
                <a:avLst/>
              </a:prstGeom>
            </p:spPr>
          </p:pic>
          <p:sp>
            <p:nvSpPr>
              <p:cNvPr id="61" name="object 54">
                <a:extLst>
                  <a:ext uri="{FF2B5EF4-FFF2-40B4-BE49-F238E27FC236}">
                    <a16:creationId xmlns:a16="http://schemas.microsoft.com/office/drawing/2014/main" id="{538200E2-8E82-727D-CE55-C5E19A43A1DD}"/>
                  </a:ext>
                </a:extLst>
              </p:cNvPr>
              <p:cNvSpPr/>
              <p:nvPr/>
            </p:nvSpPr>
            <p:spPr>
              <a:xfrm>
                <a:off x="3441909" y="5425011"/>
                <a:ext cx="63500" cy="111125"/>
              </a:xfrm>
              <a:custGeom>
                <a:avLst/>
                <a:gdLst/>
                <a:ahLst/>
                <a:cxnLst/>
                <a:rect l="l" t="t" r="r" b="b"/>
                <a:pathLst>
                  <a:path w="63500" h="111125">
                    <a:moveTo>
                      <a:pt x="53682" y="0"/>
                    </a:moveTo>
                    <a:lnTo>
                      <a:pt x="45758" y="2247"/>
                    </a:lnTo>
                    <a:lnTo>
                      <a:pt x="33223" y="12077"/>
                    </a:lnTo>
                    <a:lnTo>
                      <a:pt x="28371" y="18630"/>
                    </a:lnTo>
                    <a:lnTo>
                      <a:pt x="24968" y="26809"/>
                    </a:lnTo>
                    <a:lnTo>
                      <a:pt x="24968" y="2451"/>
                    </a:lnTo>
                    <a:lnTo>
                      <a:pt x="0" y="2451"/>
                    </a:lnTo>
                    <a:lnTo>
                      <a:pt x="0" y="110502"/>
                    </a:lnTo>
                    <a:lnTo>
                      <a:pt x="24968" y="110502"/>
                    </a:lnTo>
                    <a:lnTo>
                      <a:pt x="24968" y="62280"/>
                    </a:lnTo>
                    <a:lnTo>
                      <a:pt x="25857" y="56045"/>
                    </a:lnTo>
                    <a:lnTo>
                      <a:pt x="51358" y="27495"/>
                    </a:lnTo>
                    <a:lnTo>
                      <a:pt x="56337" y="26606"/>
                    </a:lnTo>
                    <a:lnTo>
                      <a:pt x="63233" y="26606"/>
                    </a:lnTo>
                    <a:lnTo>
                      <a:pt x="63233" y="406"/>
                    </a:lnTo>
                    <a:lnTo>
                      <a:pt x="53682" y="0"/>
                    </a:lnTo>
                    <a:close/>
                  </a:path>
                </a:pathLst>
              </a:custGeom>
              <a:solidFill>
                <a:srgbClr val="221815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</p:grpSp>
        <p:grpSp>
          <p:nvGrpSpPr>
            <p:cNvPr id="38" name="object 55">
              <a:extLst>
                <a:ext uri="{FF2B5EF4-FFF2-40B4-BE49-F238E27FC236}">
                  <a16:creationId xmlns:a16="http://schemas.microsoft.com/office/drawing/2014/main" id="{FDEE1D16-A71A-EA51-6717-C85D1EFDEEBF}"/>
                </a:ext>
              </a:extLst>
            </p:cNvPr>
            <p:cNvGrpSpPr/>
            <p:nvPr/>
          </p:nvGrpSpPr>
          <p:grpSpPr>
            <a:xfrm>
              <a:off x="3598668" y="5386129"/>
              <a:ext cx="1113155" cy="182245"/>
              <a:chOff x="3598668" y="5386129"/>
              <a:chExt cx="1113155" cy="182245"/>
            </a:xfrm>
          </p:grpSpPr>
          <p:pic>
            <p:nvPicPr>
              <p:cNvPr id="48" name="object 56">
                <a:extLst>
                  <a:ext uri="{FF2B5EF4-FFF2-40B4-BE49-F238E27FC236}">
                    <a16:creationId xmlns:a16="http://schemas.microsoft.com/office/drawing/2014/main" id="{C4B2CF07-6238-0836-DCB3-2DD4B780F229}"/>
                  </a:ext>
                </a:extLst>
              </p:cNvPr>
              <p:cNvPicPr/>
              <p:nvPr/>
            </p:nvPicPr>
            <p:blipFill>
              <a:blip r:embed="rId6" cstate="print"/>
              <a:stretch>
                <a:fillRect/>
              </a:stretch>
            </p:blipFill>
            <p:spPr>
              <a:xfrm>
                <a:off x="3598668" y="5389810"/>
                <a:ext cx="149796" cy="148158"/>
              </a:xfrm>
              <a:prstGeom prst="rect">
                <a:avLst/>
              </a:prstGeom>
            </p:spPr>
          </p:pic>
          <p:pic>
            <p:nvPicPr>
              <p:cNvPr id="49" name="object 57">
                <a:extLst>
                  <a:ext uri="{FF2B5EF4-FFF2-40B4-BE49-F238E27FC236}">
                    <a16:creationId xmlns:a16="http://schemas.microsoft.com/office/drawing/2014/main" id="{22E56C7E-202F-D966-7EF9-7BC9D4DF2CB3}"/>
                  </a:ext>
                </a:extLst>
              </p:cNvPr>
              <p:cNvPicPr/>
              <p:nvPr/>
            </p:nvPicPr>
            <p:blipFill>
              <a:blip r:embed="rId7" cstate="print"/>
              <a:stretch>
                <a:fillRect/>
              </a:stretch>
            </p:blipFill>
            <p:spPr>
              <a:xfrm>
                <a:off x="3770153" y="5427051"/>
                <a:ext cx="163093" cy="109283"/>
              </a:xfrm>
              <a:prstGeom prst="rect">
                <a:avLst/>
              </a:prstGeom>
            </p:spPr>
          </p:pic>
          <p:pic>
            <p:nvPicPr>
              <p:cNvPr id="50" name="object 58">
                <a:extLst>
                  <a:ext uri="{FF2B5EF4-FFF2-40B4-BE49-F238E27FC236}">
                    <a16:creationId xmlns:a16="http://schemas.microsoft.com/office/drawing/2014/main" id="{89BDE464-AB96-4D06-1533-D4699E7EE6BE}"/>
                  </a:ext>
                </a:extLst>
              </p:cNvPr>
              <p:cNvPicPr/>
              <p:nvPr/>
            </p:nvPicPr>
            <p:blipFill>
              <a:blip r:embed="rId8" cstate="print"/>
              <a:stretch>
                <a:fillRect/>
              </a:stretch>
            </p:blipFill>
            <p:spPr>
              <a:xfrm>
                <a:off x="3958411" y="5425217"/>
                <a:ext cx="97002" cy="110299"/>
              </a:xfrm>
              <a:prstGeom prst="rect">
                <a:avLst/>
              </a:prstGeom>
            </p:spPr>
          </p:pic>
          <p:pic>
            <p:nvPicPr>
              <p:cNvPr id="51" name="object 59">
                <a:extLst>
                  <a:ext uri="{FF2B5EF4-FFF2-40B4-BE49-F238E27FC236}">
                    <a16:creationId xmlns:a16="http://schemas.microsoft.com/office/drawing/2014/main" id="{254155D4-03C1-DFF4-047E-13267C9D2CDB}"/>
                  </a:ext>
                </a:extLst>
              </p:cNvPr>
              <p:cNvPicPr/>
              <p:nvPr/>
            </p:nvPicPr>
            <p:blipFill>
              <a:blip r:embed="rId9" cstate="print"/>
              <a:stretch>
                <a:fillRect/>
              </a:stretch>
            </p:blipFill>
            <p:spPr>
              <a:xfrm>
                <a:off x="4082436" y="5425212"/>
                <a:ext cx="104559" cy="112763"/>
              </a:xfrm>
              <a:prstGeom prst="rect">
                <a:avLst/>
              </a:prstGeom>
            </p:spPr>
          </p:pic>
          <p:pic>
            <p:nvPicPr>
              <p:cNvPr id="52" name="object 60">
                <a:extLst>
                  <a:ext uri="{FF2B5EF4-FFF2-40B4-BE49-F238E27FC236}">
                    <a16:creationId xmlns:a16="http://schemas.microsoft.com/office/drawing/2014/main" id="{8B9776AD-C921-5B28-D0B6-387815C98784}"/>
                  </a:ext>
                </a:extLst>
              </p:cNvPr>
              <p:cNvPicPr/>
              <p:nvPr/>
            </p:nvPicPr>
            <p:blipFill>
              <a:blip r:embed="rId10" cstate="print"/>
              <a:stretch>
                <a:fillRect/>
              </a:stretch>
            </p:blipFill>
            <p:spPr>
              <a:xfrm>
                <a:off x="4215032" y="5425004"/>
                <a:ext cx="164739" cy="112561"/>
              </a:xfrm>
              <a:prstGeom prst="rect">
                <a:avLst/>
              </a:prstGeom>
            </p:spPr>
          </p:pic>
          <p:pic>
            <p:nvPicPr>
              <p:cNvPr id="53" name="object 61">
                <a:extLst>
                  <a:ext uri="{FF2B5EF4-FFF2-40B4-BE49-F238E27FC236}">
                    <a16:creationId xmlns:a16="http://schemas.microsoft.com/office/drawing/2014/main" id="{8395C5E0-7C06-0780-53FB-562FBFFBAAF3}"/>
                  </a:ext>
                </a:extLst>
              </p:cNvPr>
              <p:cNvPicPr/>
              <p:nvPr/>
            </p:nvPicPr>
            <p:blipFill>
              <a:blip r:embed="rId11" cstate="print"/>
              <a:stretch>
                <a:fillRect/>
              </a:stretch>
            </p:blipFill>
            <p:spPr>
              <a:xfrm>
                <a:off x="4408001" y="5386129"/>
                <a:ext cx="97002" cy="149390"/>
              </a:xfrm>
              <a:prstGeom prst="rect">
                <a:avLst/>
              </a:prstGeom>
            </p:spPr>
          </p:pic>
          <p:sp>
            <p:nvSpPr>
              <p:cNvPr id="54" name="object 62">
                <a:extLst>
                  <a:ext uri="{FF2B5EF4-FFF2-40B4-BE49-F238E27FC236}">
                    <a16:creationId xmlns:a16="http://schemas.microsoft.com/office/drawing/2014/main" id="{D74201F4-5C73-28F7-2A73-18FDBC53401B}"/>
                  </a:ext>
                </a:extLst>
              </p:cNvPr>
              <p:cNvSpPr/>
              <p:nvPr/>
            </p:nvSpPr>
            <p:spPr>
              <a:xfrm>
                <a:off x="4538370" y="5387365"/>
                <a:ext cx="27305" cy="148590"/>
              </a:xfrm>
              <a:custGeom>
                <a:avLst/>
                <a:gdLst/>
                <a:ahLst/>
                <a:cxnLst/>
                <a:rect l="l" t="t" r="r" b="b"/>
                <a:pathLst>
                  <a:path w="27304" h="148589">
                    <a:moveTo>
                      <a:pt x="25984" y="40106"/>
                    </a:moveTo>
                    <a:lnTo>
                      <a:pt x="1016" y="40106"/>
                    </a:lnTo>
                    <a:lnTo>
                      <a:pt x="1016" y="148158"/>
                    </a:lnTo>
                    <a:lnTo>
                      <a:pt x="25984" y="148158"/>
                    </a:lnTo>
                    <a:lnTo>
                      <a:pt x="25984" y="40106"/>
                    </a:lnTo>
                    <a:close/>
                  </a:path>
                  <a:path w="27304" h="148589">
                    <a:moveTo>
                      <a:pt x="26797" y="0"/>
                    </a:moveTo>
                    <a:lnTo>
                      <a:pt x="0" y="0"/>
                    </a:lnTo>
                    <a:lnTo>
                      <a:pt x="0" y="23533"/>
                    </a:lnTo>
                    <a:lnTo>
                      <a:pt x="26797" y="23533"/>
                    </a:lnTo>
                    <a:lnTo>
                      <a:pt x="26797" y="0"/>
                    </a:lnTo>
                    <a:close/>
                  </a:path>
                </a:pathLst>
              </a:custGeom>
              <a:solidFill>
                <a:srgbClr val="221815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pic>
            <p:nvPicPr>
              <p:cNvPr id="55" name="object 63">
                <a:extLst>
                  <a:ext uri="{FF2B5EF4-FFF2-40B4-BE49-F238E27FC236}">
                    <a16:creationId xmlns:a16="http://schemas.microsoft.com/office/drawing/2014/main" id="{262E73FF-C4DD-0107-63BA-568B030E884D}"/>
                  </a:ext>
                </a:extLst>
              </p:cNvPr>
              <p:cNvPicPr/>
              <p:nvPr/>
            </p:nvPicPr>
            <p:blipFill>
              <a:blip r:embed="rId12" cstate="print"/>
              <a:stretch>
                <a:fillRect/>
              </a:stretch>
            </p:blipFill>
            <p:spPr>
              <a:xfrm>
                <a:off x="4599562" y="5425219"/>
                <a:ext cx="111721" cy="143040"/>
              </a:xfrm>
              <a:prstGeom prst="rect">
                <a:avLst/>
              </a:prstGeom>
            </p:spPr>
          </p:pic>
        </p:grpSp>
        <p:pic>
          <p:nvPicPr>
            <p:cNvPr id="39" name="object 64">
              <a:extLst>
                <a:ext uri="{FF2B5EF4-FFF2-40B4-BE49-F238E27FC236}">
                  <a16:creationId xmlns:a16="http://schemas.microsoft.com/office/drawing/2014/main" id="{A4AB46A5-1B67-6468-6EED-A0FB4A208263}"/>
                </a:ext>
              </a:extLst>
            </p:cNvPr>
            <p:cNvPicPr/>
            <p:nvPr/>
          </p:nvPicPr>
          <p:blipFill>
            <a:blip r:embed="rId13" cstate="print"/>
            <a:stretch>
              <a:fillRect/>
            </a:stretch>
          </p:blipFill>
          <p:spPr>
            <a:xfrm>
              <a:off x="2806094" y="5632719"/>
              <a:ext cx="1334244" cy="176400"/>
            </a:xfrm>
            <a:prstGeom prst="rect">
              <a:avLst/>
            </a:prstGeom>
          </p:spPr>
        </p:pic>
        <p:grpSp>
          <p:nvGrpSpPr>
            <p:cNvPr id="40" name="object 65">
              <a:extLst>
                <a:ext uri="{FF2B5EF4-FFF2-40B4-BE49-F238E27FC236}">
                  <a16:creationId xmlns:a16="http://schemas.microsoft.com/office/drawing/2014/main" id="{C3E7829B-C860-8B42-082C-1EDCA0CA6732}"/>
                </a:ext>
              </a:extLst>
            </p:cNvPr>
            <p:cNvGrpSpPr/>
            <p:nvPr/>
          </p:nvGrpSpPr>
          <p:grpSpPr>
            <a:xfrm>
              <a:off x="4223223" y="5626578"/>
              <a:ext cx="670560" cy="151765"/>
              <a:chOff x="4223223" y="5626578"/>
              <a:chExt cx="670560" cy="151765"/>
            </a:xfrm>
          </p:grpSpPr>
          <p:pic>
            <p:nvPicPr>
              <p:cNvPr id="46" name="object 66">
                <a:extLst>
                  <a:ext uri="{FF2B5EF4-FFF2-40B4-BE49-F238E27FC236}">
                    <a16:creationId xmlns:a16="http://schemas.microsoft.com/office/drawing/2014/main" id="{EC3B7EDE-F007-9453-E1DE-C627FDFD8693}"/>
                  </a:ext>
                </a:extLst>
              </p:cNvPr>
              <p:cNvPicPr/>
              <p:nvPr/>
            </p:nvPicPr>
            <p:blipFill>
              <a:blip r:embed="rId14" cstate="print"/>
              <a:stretch>
                <a:fillRect/>
              </a:stretch>
            </p:blipFill>
            <p:spPr>
              <a:xfrm>
                <a:off x="4223223" y="5631704"/>
                <a:ext cx="444056" cy="146517"/>
              </a:xfrm>
              <a:prstGeom prst="rect">
                <a:avLst/>
              </a:prstGeom>
            </p:spPr>
          </p:pic>
          <p:pic>
            <p:nvPicPr>
              <p:cNvPr id="47" name="object 67">
                <a:extLst>
                  <a:ext uri="{FF2B5EF4-FFF2-40B4-BE49-F238E27FC236}">
                    <a16:creationId xmlns:a16="http://schemas.microsoft.com/office/drawing/2014/main" id="{A7A381B2-01EA-A292-0B12-F4F97DFB1B3A}"/>
                  </a:ext>
                </a:extLst>
              </p:cNvPr>
              <p:cNvPicPr/>
              <p:nvPr/>
            </p:nvPicPr>
            <p:blipFill>
              <a:blip r:embed="rId15" cstate="print"/>
              <a:stretch>
                <a:fillRect/>
              </a:stretch>
            </p:blipFill>
            <p:spPr>
              <a:xfrm>
                <a:off x="4699816" y="5626578"/>
                <a:ext cx="193794" cy="151637"/>
              </a:xfrm>
              <a:prstGeom prst="rect">
                <a:avLst/>
              </a:prstGeom>
            </p:spPr>
          </p:pic>
        </p:grpSp>
        <p:pic>
          <p:nvPicPr>
            <p:cNvPr id="41" name="object 68">
              <a:extLst>
                <a:ext uri="{FF2B5EF4-FFF2-40B4-BE49-F238E27FC236}">
                  <a16:creationId xmlns:a16="http://schemas.microsoft.com/office/drawing/2014/main" id="{29591987-107B-6E73-33E1-A950CEA01BAF}"/>
                </a:ext>
              </a:extLst>
            </p:cNvPr>
            <p:cNvPicPr/>
            <p:nvPr/>
          </p:nvPicPr>
          <p:blipFill>
            <a:blip r:embed="rId16" cstate="print"/>
            <a:stretch>
              <a:fillRect/>
            </a:stretch>
          </p:blipFill>
          <p:spPr>
            <a:xfrm>
              <a:off x="1879156" y="5498016"/>
              <a:ext cx="131203" cy="197561"/>
            </a:xfrm>
            <a:prstGeom prst="rect">
              <a:avLst/>
            </a:prstGeom>
          </p:spPr>
        </p:pic>
        <p:grpSp>
          <p:nvGrpSpPr>
            <p:cNvPr id="42" name="object 69">
              <a:extLst>
                <a:ext uri="{FF2B5EF4-FFF2-40B4-BE49-F238E27FC236}">
                  <a16:creationId xmlns:a16="http://schemas.microsoft.com/office/drawing/2014/main" id="{32D472B1-5593-5339-53E6-2FC13FC317A4}"/>
                </a:ext>
              </a:extLst>
            </p:cNvPr>
            <p:cNvGrpSpPr/>
            <p:nvPr/>
          </p:nvGrpSpPr>
          <p:grpSpPr>
            <a:xfrm>
              <a:off x="2057979" y="5498016"/>
              <a:ext cx="368300" cy="200660"/>
              <a:chOff x="2057979" y="5498016"/>
              <a:chExt cx="368300" cy="200660"/>
            </a:xfrm>
          </p:grpSpPr>
          <p:pic>
            <p:nvPicPr>
              <p:cNvPr id="44" name="object 70">
                <a:extLst>
                  <a:ext uri="{FF2B5EF4-FFF2-40B4-BE49-F238E27FC236}">
                    <a16:creationId xmlns:a16="http://schemas.microsoft.com/office/drawing/2014/main" id="{8794A071-AEA3-68B2-A162-BEF25CE8BD99}"/>
                  </a:ext>
                </a:extLst>
              </p:cNvPr>
              <p:cNvPicPr/>
              <p:nvPr/>
            </p:nvPicPr>
            <p:blipFill>
              <a:blip r:embed="rId17" cstate="print"/>
              <a:stretch>
                <a:fillRect/>
              </a:stretch>
            </p:blipFill>
            <p:spPr>
              <a:xfrm>
                <a:off x="2057979" y="5499087"/>
                <a:ext cx="199440" cy="199453"/>
              </a:xfrm>
              <a:prstGeom prst="rect">
                <a:avLst/>
              </a:prstGeom>
            </p:spPr>
          </p:pic>
          <p:pic>
            <p:nvPicPr>
              <p:cNvPr id="45" name="object 71">
                <a:extLst>
                  <a:ext uri="{FF2B5EF4-FFF2-40B4-BE49-F238E27FC236}">
                    <a16:creationId xmlns:a16="http://schemas.microsoft.com/office/drawing/2014/main" id="{89176215-CCC6-681A-DEA4-28093861D5BD}"/>
                  </a:ext>
                </a:extLst>
              </p:cNvPr>
              <p:cNvPicPr/>
              <p:nvPr/>
            </p:nvPicPr>
            <p:blipFill>
              <a:blip r:embed="rId18" cstate="print"/>
              <a:stretch>
                <a:fillRect/>
              </a:stretch>
            </p:blipFill>
            <p:spPr>
              <a:xfrm>
                <a:off x="2294486" y="5498016"/>
                <a:ext cx="131203" cy="197561"/>
              </a:xfrm>
              <a:prstGeom prst="rect">
                <a:avLst/>
              </a:prstGeom>
            </p:spPr>
          </p:pic>
        </p:grpSp>
        <p:pic>
          <p:nvPicPr>
            <p:cNvPr id="43" name="object 72">
              <a:extLst>
                <a:ext uri="{FF2B5EF4-FFF2-40B4-BE49-F238E27FC236}">
                  <a16:creationId xmlns:a16="http://schemas.microsoft.com/office/drawing/2014/main" id="{58B96E18-4971-AEE7-4AEF-075E5A0C5869}"/>
                </a:ext>
              </a:extLst>
            </p:cNvPr>
            <p:cNvPicPr/>
            <p:nvPr/>
          </p:nvPicPr>
          <p:blipFill>
            <a:blip r:embed="rId19" cstate="print"/>
            <a:stretch>
              <a:fillRect/>
            </a:stretch>
          </p:blipFill>
          <p:spPr>
            <a:xfrm>
              <a:off x="2481940" y="5501791"/>
              <a:ext cx="132651" cy="1966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29859989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エントリーシート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正方形/長方形 6">
            <a:extLst>
              <a:ext uri="{FF2B5EF4-FFF2-40B4-BE49-F238E27FC236}">
                <a16:creationId xmlns:a16="http://schemas.microsoft.com/office/drawing/2014/main" id="{0082205D-CDBB-B87F-3E90-F66B4FB81FCA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sz="2117"/>
          </a:p>
        </p:txBody>
      </p:sp>
      <p:sp>
        <p:nvSpPr>
          <p:cNvPr id="3" name="正方形/長方形 2">
            <a:extLst>
              <a:ext uri="{FF2B5EF4-FFF2-40B4-BE49-F238E27FC236}">
                <a16:creationId xmlns:a16="http://schemas.microsoft.com/office/drawing/2014/main" id="{FBCE73A8-DED3-40A5-023E-57D2C804BD09}"/>
              </a:ext>
            </a:extLst>
          </p:cNvPr>
          <p:cNvSpPr/>
          <p:nvPr userDrawn="1"/>
        </p:nvSpPr>
        <p:spPr>
          <a:xfrm>
            <a:off x="275852" y="463086"/>
            <a:ext cx="11640301" cy="336248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4418">
              <a:defRPr/>
            </a:pPr>
            <a:r>
              <a:rPr lang="ja-JP" altLang="en-US" sz="1050" b="1">
                <a:solidFill>
                  <a:prstClr val="white"/>
                </a:solidFill>
                <a:latin typeface="游ゴシック" panose="020F0502020204030204"/>
                <a:ea typeface="游ゴシック" panose="020B0400000000000000" pitchFamily="50" charset="-128"/>
              </a:rPr>
              <a:t>参考資料添付②　</a:t>
            </a:r>
            <a:r>
              <a:rPr lang="en-US" altLang="ja-JP" sz="1050">
                <a:solidFill>
                  <a:prstClr val="white"/>
                </a:solidFill>
                <a:latin typeface="游ゴシック" panose="020F0502020204030204"/>
                <a:ea typeface="游ゴシック" panose="020B0400000000000000" pitchFamily="50" charset="-128"/>
              </a:rPr>
              <a:t>※</a:t>
            </a:r>
            <a:r>
              <a:rPr lang="ja-JP" altLang="en-US" sz="1050">
                <a:solidFill>
                  <a:prstClr val="white"/>
                </a:solidFill>
                <a:latin typeface="游ゴシック" panose="020F0502020204030204"/>
                <a:ea typeface="游ゴシック" panose="020B0400000000000000" pitchFamily="50" charset="-128"/>
              </a:rPr>
              <a:t>参考資料は</a:t>
            </a:r>
            <a:r>
              <a:rPr lang="en-US" altLang="ja-JP" sz="1050">
                <a:solidFill>
                  <a:prstClr val="white"/>
                </a:solidFill>
                <a:latin typeface="游ゴシック" panose="020F0502020204030204"/>
                <a:ea typeface="游ゴシック" panose="020B0400000000000000" pitchFamily="50" charset="-128"/>
              </a:rPr>
              <a:t>3</a:t>
            </a:r>
            <a:r>
              <a:rPr lang="ja-JP" altLang="en-US" sz="1050">
                <a:solidFill>
                  <a:prstClr val="white"/>
                </a:solidFill>
                <a:latin typeface="游ゴシック" panose="020F0502020204030204"/>
                <a:ea typeface="游ゴシック" panose="020B0400000000000000" pitchFamily="50" charset="-128"/>
              </a:rPr>
              <a:t>枚まで添付可能です。</a:t>
            </a:r>
          </a:p>
        </p:txBody>
      </p:sp>
      <p:sp>
        <p:nvSpPr>
          <p:cNvPr id="4" name="正方形/長方形 3">
            <a:extLst>
              <a:ext uri="{FF2B5EF4-FFF2-40B4-BE49-F238E27FC236}">
                <a16:creationId xmlns:a16="http://schemas.microsoft.com/office/drawing/2014/main" id="{0E373648-3B9A-A51C-CB2B-6505DB9191A1}"/>
              </a:ext>
            </a:extLst>
          </p:cNvPr>
          <p:cNvSpPr/>
          <p:nvPr userDrawn="1"/>
        </p:nvSpPr>
        <p:spPr>
          <a:xfrm>
            <a:off x="275852" y="799334"/>
            <a:ext cx="11640301" cy="5869754"/>
          </a:xfrm>
          <a:prstGeom prst="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4418">
              <a:defRPr/>
            </a:pPr>
            <a:endParaRPr lang="ja-JP" altLang="en-US" sz="1050">
              <a:solidFill>
                <a:prstClr val="black"/>
              </a:solidFill>
              <a:latin typeface="游ゴシック" panose="020F0502020204030204"/>
              <a:ea typeface="游ゴシック" panose="020B0400000000000000" pitchFamily="50" charset="-128"/>
            </a:endParaRPr>
          </a:p>
        </p:txBody>
      </p:sp>
      <p:grpSp>
        <p:nvGrpSpPr>
          <p:cNvPr id="35" name="グループ化 34">
            <a:extLst>
              <a:ext uri="{FF2B5EF4-FFF2-40B4-BE49-F238E27FC236}">
                <a16:creationId xmlns:a16="http://schemas.microsoft.com/office/drawing/2014/main" id="{BD062366-D405-B6A4-91AE-2D73C227559F}"/>
              </a:ext>
            </a:extLst>
          </p:cNvPr>
          <p:cNvGrpSpPr/>
          <p:nvPr userDrawn="1"/>
        </p:nvGrpSpPr>
        <p:grpSpPr>
          <a:xfrm>
            <a:off x="10122799" y="111307"/>
            <a:ext cx="1793284" cy="301028"/>
            <a:chOff x="513270" y="5229997"/>
            <a:chExt cx="4380513" cy="735330"/>
          </a:xfrm>
        </p:grpSpPr>
        <p:grpSp>
          <p:nvGrpSpPr>
            <p:cNvPr id="36" name="object 45">
              <a:extLst>
                <a:ext uri="{FF2B5EF4-FFF2-40B4-BE49-F238E27FC236}">
                  <a16:creationId xmlns:a16="http://schemas.microsoft.com/office/drawing/2014/main" id="{D3D7D104-B1B7-8E04-E803-8192ED308110}"/>
                </a:ext>
              </a:extLst>
            </p:cNvPr>
            <p:cNvGrpSpPr/>
            <p:nvPr/>
          </p:nvGrpSpPr>
          <p:grpSpPr>
            <a:xfrm>
              <a:off x="513270" y="5229997"/>
              <a:ext cx="1193165" cy="735330"/>
              <a:chOff x="513270" y="5229997"/>
              <a:chExt cx="1193165" cy="735330"/>
            </a:xfrm>
          </p:grpSpPr>
          <p:pic>
            <p:nvPicPr>
              <p:cNvPr id="62" name="object 46">
                <a:extLst>
                  <a:ext uri="{FF2B5EF4-FFF2-40B4-BE49-F238E27FC236}">
                    <a16:creationId xmlns:a16="http://schemas.microsoft.com/office/drawing/2014/main" id="{1AED5CD3-83F3-9789-C6BF-F231AA7FE80E}"/>
                  </a:ext>
                </a:extLst>
              </p:cNvPr>
              <p:cNvPicPr/>
              <p:nvPr/>
            </p:nvPicPr>
            <p:blipFill>
              <a:blip r:embed="rId2" cstate="print"/>
              <a:stretch>
                <a:fillRect/>
              </a:stretch>
            </p:blipFill>
            <p:spPr>
              <a:xfrm>
                <a:off x="513270" y="5229999"/>
                <a:ext cx="596315" cy="735253"/>
              </a:xfrm>
              <a:prstGeom prst="rect">
                <a:avLst/>
              </a:prstGeom>
            </p:spPr>
          </p:pic>
          <p:sp>
            <p:nvSpPr>
              <p:cNvPr id="63" name="object 47">
                <a:extLst>
                  <a:ext uri="{FF2B5EF4-FFF2-40B4-BE49-F238E27FC236}">
                    <a16:creationId xmlns:a16="http://schemas.microsoft.com/office/drawing/2014/main" id="{0AA66846-CB2B-CC71-702B-F00A5DAB2ACB}"/>
                  </a:ext>
                </a:extLst>
              </p:cNvPr>
              <p:cNvSpPr/>
              <p:nvPr/>
            </p:nvSpPr>
            <p:spPr>
              <a:xfrm>
                <a:off x="970751" y="5229997"/>
                <a:ext cx="735330" cy="735330"/>
              </a:xfrm>
              <a:custGeom>
                <a:avLst/>
                <a:gdLst/>
                <a:ahLst/>
                <a:cxnLst/>
                <a:rect l="l" t="t" r="r" b="b"/>
                <a:pathLst>
                  <a:path w="735330" h="735329">
                    <a:moveTo>
                      <a:pt x="367626" y="0"/>
                    </a:moveTo>
                    <a:lnTo>
                      <a:pt x="321512" y="2864"/>
                    </a:lnTo>
                    <a:lnTo>
                      <a:pt x="277107" y="11227"/>
                    </a:lnTo>
                    <a:lnTo>
                      <a:pt x="234756" y="24745"/>
                    </a:lnTo>
                    <a:lnTo>
                      <a:pt x="194803" y="43073"/>
                    </a:lnTo>
                    <a:lnTo>
                      <a:pt x="157593" y="65866"/>
                    </a:lnTo>
                    <a:lnTo>
                      <a:pt x="123471" y="92780"/>
                    </a:lnTo>
                    <a:lnTo>
                      <a:pt x="92780" y="123471"/>
                    </a:lnTo>
                    <a:lnTo>
                      <a:pt x="65866" y="157593"/>
                    </a:lnTo>
                    <a:lnTo>
                      <a:pt x="43073" y="194803"/>
                    </a:lnTo>
                    <a:lnTo>
                      <a:pt x="24745" y="234756"/>
                    </a:lnTo>
                    <a:lnTo>
                      <a:pt x="11227" y="277107"/>
                    </a:lnTo>
                    <a:lnTo>
                      <a:pt x="2864" y="321512"/>
                    </a:lnTo>
                    <a:lnTo>
                      <a:pt x="0" y="367626"/>
                    </a:lnTo>
                    <a:lnTo>
                      <a:pt x="2852" y="413548"/>
                    </a:lnTo>
                    <a:lnTo>
                      <a:pt x="2864" y="413741"/>
                    </a:lnTo>
                    <a:lnTo>
                      <a:pt x="11227" y="458146"/>
                    </a:lnTo>
                    <a:lnTo>
                      <a:pt x="24745" y="500497"/>
                    </a:lnTo>
                    <a:lnTo>
                      <a:pt x="43073" y="540450"/>
                    </a:lnTo>
                    <a:lnTo>
                      <a:pt x="65866" y="577660"/>
                    </a:lnTo>
                    <a:lnTo>
                      <a:pt x="92780" y="611782"/>
                    </a:lnTo>
                    <a:lnTo>
                      <a:pt x="123471" y="642473"/>
                    </a:lnTo>
                    <a:lnTo>
                      <a:pt x="157593" y="669387"/>
                    </a:lnTo>
                    <a:lnTo>
                      <a:pt x="194803" y="692180"/>
                    </a:lnTo>
                    <a:lnTo>
                      <a:pt x="234756" y="710508"/>
                    </a:lnTo>
                    <a:lnTo>
                      <a:pt x="277107" y="724026"/>
                    </a:lnTo>
                    <a:lnTo>
                      <a:pt x="321512" y="732389"/>
                    </a:lnTo>
                    <a:lnTo>
                      <a:pt x="367626" y="735253"/>
                    </a:lnTo>
                    <a:lnTo>
                      <a:pt x="413741" y="732389"/>
                    </a:lnTo>
                    <a:lnTo>
                      <a:pt x="458146" y="724026"/>
                    </a:lnTo>
                    <a:lnTo>
                      <a:pt x="500497" y="710508"/>
                    </a:lnTo>
                    <a:lnTo>
                      <a:pt x="540450" y="692180"/>
                    </a:lnTo>
                    <a:lnTo>
                      <a:pt x="577660" y="669387"/>
                    </a:lnTo>
                    <a:lnTo>
                      <a:pt x="611782" y="642473"/>
                    </a:lnTo>
                    <a:lnTo>
                      <a:pt x="642473" y="611782"/>
                    </a:lnTo>
                    <a:lnTo>
                      <a:pt x="669387" y="577660"/>
                    </a:lnTo>
                    <a:lnTo>
                      <a:pt x="675214" y="568147"/>
                    </a:lnTo>
                    <a:lnTo>
                      <a:pt x="367626" y="568147"/>
                    </a:lnTo>
                    <a:lnTo>
                      <a:pt x="321706" y="562841"/>
                    </a:lnTo>
                    <a:lnTo>
                      <a:pt x="279523" y="547734"/>
                    </a:lnTo>
                    <a:lnTo>
                      <a:pt x="242291" y="524039"/>
                    </a:lnTo>
                    <a:lnTo>
                      <a:pt x="211222" y="492967"/>
                    </a:lnTo>
                    <a:lnTo>
                      <a:pt x="187529" y="455732"/>
                    </a:lnTo>
                    <a:lnTo>
                      <a:pt x="172492" y="413741"/>
                    </a:lnTo>
                    <a:lnTo>
                      <a:pt x="167119" y="367626"/>
                    </a:lnTo>
                    <a:lnTo>
                      <a:pt x="172423" y="321706"/>
                    </a:lnTo>
                    <a:lnTo>
                      <a:pt x="187529" y="279523"/>
                    </a:lnTo>
                    <a:lnTo>
                      <a:pt x="211222" y="242291"/>
                    </a:lnTo>
                    <a:lnTo>
                      <a:pt x="242291" y="211222"/>
                    </a:lnTo>
                    <a:lnTo>
                      <a:pt x="279523" y="187529"/>
                    </a:lnTo>
                    <a:lnTo>
                      <a:pt x="321706" y="172423"/>
                    </a:lnTo>
                    <a:lnTo>
                      <a:pt x="367626" y="167119"/>
                    </a:lnTo>
                    <a:lnTo>
                      <a:pt x="675222" y="167119"/>
                    </a:lnTo>
                    <a:lnTo>
                      <a:pt x="669387" y="157593"/>
                    </a:lnTo>
                    <a:lnTo>
                      <a:pt x="642473" y="123471"/>
                    </a:lnTo>
                    <a:lnTo>
                      <a:pt x="611782" y="92780"/>
                    </a:lnTo>
                    <a:lnTo>
                      <a:pt x="577660" y="65866"/>
                    </a:lnTo>
                    <a:lnTo>
                      <a:pt x="540450" y="43073"/>
                    </a:lnTo>
                    <a:lnTo>
                      <a:pt x="500497" y="24745"/>
                    </a:lnTo>
                    <a:lnTo>
                      <a:pt x="458146" y="11227"/>
                    </a:lnTo>
                    <a:lnTo>
                      <a:pt x="413741" y="2864"/>
                    </a:lnTo>
                    <a:lnTo>
                      <a:pt x="367626" y="0"/>
                    </a:lnTo>
                    <a:close/>
                  </a:path>
                  <a:path w="735330" h="735329">
                    <a:moveTo>
                      <a:pt x="675222" y="167119"/>
                    </a:moveTo>
                    <a:lnTo>
                      <a:pt x="367626" y="167119"/>
                    </a:lnTo>
                    <a:lnTo>
                      <a:pt x="413547" y="172423"/>
                    </a:lnTo>
                    <a:lnTo>
                      <a:pt x="455730" y="187529"/>
                    </a:lnTo>
                    <a:lnTo>
                      <a:pt x="492962" y="211222"/>
                    </a:lnTo>
                    <a:lnTo>
                      <a:pt x="524031" y="242291"/>
                    </a:lnTo>
                    <a:lnTo>
                      <a:pt x="547724" y="279523"/>
                    </a:lnTo>
                    <a:lnTo>
                      <a:pt x="562760" y="321512"/>
                    </a:lnTo>
                    <a:lnTo>
                      <a:pt x="562829" y="321706"/>
                    </a:lnTo>
                    <a:lnTo>
                      <a:pt x="568134" y="367626"/>
                    </a:lnTo>
                    <a:lnTo>
                      <a:pt x="562829" y="413548"/>
                    </a:lnTo>
                    <a:lnTo>
                      <a:pt x="547724" y="455732"/>
                    </a:lnTo>
                    <a:lnTo>
                      <a:pt x="524031" y="492967"/>
                    </a:lnTo>
                    <a:lnTo>
                      <a:pt x="492962" y="524039"/>
                    </a:lnTo>
                    <a:lnTo>
                      <a:pt x="455730" y="547734"/>
                    </a:lnTo>
                    <a:lnTo>
                      <a:pt x="413547" y="562841"/>
                    </a:lnTo>
                    <a:lnTo>
                      <a:pt x="367626" y="568147"/>
                    </a:lnTo>
                    <a:lnTo>
                      <a:pt x="675214" y="568147"/>
                    </a:lnTo>
                    <a:lnTo>
                      <a:pt x="710508" y="500497"/>
                    </a:lnTo>
                    <a:lnTo>
                      <a:pt x="724026" y="458146"/>
                    </a:lnTo>
                    <a:lnTo>
                      <a:pt x="732389" y="413741"/>
                    </a:lnTo>
                    <a:lnTo>
                      <a:pt x="735253" y="367626"/>
                    </a:lnTo>
                    <a:lnTo>
                      <a:pt x="732401" y="321706"/>
                    </a:lnTo>
                    <a:lnTo>
                      <a:pt x="732389" y="321512"/>
                    </a:lnTo>
                    <a:lnTo>
                      <a:pt x="724026" y="277107"/>
                    </a:lnTo>
                    <a:lnTo>
                      <a:pt x="710508" y="234756"/>
                    </a:lnTo>
                    <a:lnTo>
                      <a:pt x="692180" y="194803"/>
                    </a:lnTo>
                    <a:lnTo>
                      <a:pt x="675222" y="167119"/>
                    </a:lnTo>
                    <a:close/>
                  </a:path>
                </a:pathLst>
              </a:custGeom>
              <a:solidFill>
                <a:srgbClr val="221815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</p:grpSp>
        <p:grpSp>
          <p:nvGrpSpPr>
            <p:cNvPr id="37" name="object 48">
              <a:extLst>
                <a:ext uri="{FF2B5EF4-FFF2-40B4-BE49-F238E27FC236}">
                  <a16:creationId xmlns:a16="http://schemas.microsoft.com/office/drawing/2014/main" id="{70674917-A544-86F3-E374-3FE4B25B25A7}"/>
                </a:ext>
              </a:extLst>
            </p:cNvPr>
            <p:cNvGrpSpPr/>
            <p:nvPr/>
          </p:nvGrpSpPr>
          <p:grpSpPr>
            <a:xfrm>
              <a:off x="2799749" y="5389816"/>
              <a:ext cx="705485" cy="148590"/>
              <a:chOff x="2799749" y="5389816"/>
              <a:chExt cx="705485" cy="148590"/>
            </a:xfrm>
          </p:grpSpPr>
          <p:pic>
            <p:nvPicPr>
              <p:cNvPr id="56" name="object 49">
                <a:extLst>
                  <a:ext uri="{FF2B5EF4-FFF2-40B4-BE49-F238E27FC236}">
                    <a16:creationId xmlns:a16="http://schemas.microsoft.com/office/drawing/2014/main" id="{A9A7C215-FD58-6C11-EC4F-88B33B2DCFFA}"/>
                  </a:ext>
                </a:extLst>
              </p:cNvPr>
              <p:cNvPicPr/>
              <p:nvPr/>
            </p:nvPicPr>
            <p:blipFill>
              <a:blip r:embed="rId3" cstate="print"/>
              <a:stretch>
                <a:fillRect/>
              </a:stretch>
            </p:blipFill>
            <p:spPr>
              <a:xfrm>
                <a:off x="2799749" y="5389816"/>
                <a:ext cx="130962" cy="148158"/>
              </a:xfrm>
              <a:prstGeom prst="rect">
                <a:avLst/>
              </a:prstGeom>
            </p:spPr>
          </p:pic>
          <p:pic>
            <p:nvPicPr>
              <p:cNvPr id="57" name="object 50">
                <a:extLst>
                  <a:ext uri="{FF2B5EF4-FFF2-40B4-BE49-F238E27FC236}">
                    <a16:creationId xmlns:a16="http://schemas.microsoft.com/office/drawing/2014/main" id="{0FC7A671-258C-7D18-00A6-F44F9C59A379}"/>
                  </a:ext>
                </a:extLst>
              </p:cNvPr>
              <p:cNvPicPr/>
              <p:nvPr/>
            </p:nvPicPr>
            <p:blipFill>
              <a:blip r:embed="rId4" cstate="print"/>
              <a:stretch>
                <a:fillRect/>
              </a:stretch>
            </p:blipFill>
            <p:spPr>
              <a:xfrm>
                <a:off x="2954046" y="5425837"/>
                <a:ext cx="98018" cy="111925"/>
              </a:xfrm>
              <a:prstGeom prst="rect">
                <a:avLst/>
              </a:prstGeom>
            </p:spPr>
          </p:pic>
          <p:sp>
            <p:nvSpPr>
              <p:cNvPr id="58" name="object 51">
                <a:extLst>
                  <a:ext uri="{FF2B5EF4-FFF2-40B4-BE49-F238E27FC236}">
                    <a16:creationId xmlns:a16="http://schemas.microsoft.com/office/drawing/2014/main" id="{ECCBE84F-C3BA-ADEB-A9CD-0378148BB6A5}"/>
                  </a:ext>
                </a:extLst>
              </p:cNvPr>
              <p:cNvSpPr/>
              <p:nvPr/>
            </p:nvSpPr>
            <p:spPr>
              <a:xfrm>
                <a:off x="3088694" y="5425004"/>
                <a:ext cx="63500" cy="111125"/>
              </a:xfrm>
              <a:custGeom>
                <a:avLst/>
                <a:gdLst/>
                <a:ahLst/>
                <a:cxnLst/>
                <a:rect l="l" t="t" r="r" b="b"/>
                <a:pathLst>
                  <a:path w="63500" h="111125">
                    <a:moveTo>
                      <a:pt x="53682" y="0"/>
                    </a:moveTo>
                    <a:lnTo>
                      <a:pt x="45770" y="2260"/>
                    </a:lnTo>
                    <a:lnTo>
                      <a:pt x="33223" y="12077"/>
                    </a:lnTo>
                    <a:lnTo>
                      <a:pt x="28384" y="18630"/>
                    </a:lnTo>
                    <a:lnTo>
                      <a:pt x="24968" y="26809"/>
                    </a:lnTo>
                    <a:lnTo>
                      <a:pt x="24968" y="2463"/>
                    </a:lnTo>
                    <a:lnTo>
                      <a:pt x="0" y="2463"/>
                    </a:lnTo>
                    <a:lnTo>
                      <a:pt x="0" y="110515"/>
                    </a:lnTo>
                    <a:lnTo>
                      <a:pt x="24968" y="110515"/>
                    </a:lnTo>
                    <a:lnTo>
                      <a:pt x="24968" y="69380"/>
                    </a:lnTo>
                    <a:lnTo>
                      <a:pt x="24968" y="62293"/>
                    </a:lnTo>
                    <a:lnTo>
                      <a:pt x="51371" y="27495"/>
                    </a:lnTo>
                    <a:lnTo>
                      <a:pt x="56349" y="26619"/>
                    </a:lnTo>
                    <a:lnTo>
                      <a:pt x="63233" y="26619"/>
                    </a:lnTo>
                    <a:lnTo>
                      <a:pt x="63233" y="419"/>
                    </a:lnTo>
                    <a:lnTo>
                      <a:pt x="53682" y="0"/>
                    </a:lnTo>
                    <a:close/>
                  </a:path>
                </a:pathLst>
              </a:custGeom>
              <a:solidFill>
                <a:srgbClr val="221815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pic>
            <p:nvPicPr>
              <p:cNvPr id="59" name="object 52">
                <a:extLst>
                  <a:ext uri="{FF2B5EF4-FFF2-40B4-BE49-F238E27FC236}">
                    <a16:creationId xmlns:a16="http://schemas.microsoft.com/office/drawing/2014/main" id="{53A6DA85-5F25-8F5D-F40A-9B3B0F4A57A0}"/>
                  </a:ext>
                </a:extLst>
              </p:cNvPr>
              <p:cNvPicPr/>
              <p:nvPr/>
            </p:nvPicPr>
            <p:blipFill>
              <a:blip r:embed="rId5" cstate="print"/>
              <a:stretch>
                <a:fillRect/>
              </a:stretch>
            </p:blipFill>
            <p:spPr>
              <a:xfrm>
                <a:off x="3174443" y="5425211"/>
                <a:ext cx="104571" cy="112763"/>
              </a:xfrm>
              <a:prstGeom prst="rect">
                <a:avLst/>
              </a:prstGeom>
            </p:spPr>
          </p:pic>
          <p:pic>
            <p:nvPicPr>
              <p:cNvPr id="60" name="object 53">
                <a:extLst>
                  <a:ext uri="{FF2B5EF4-FFF2-40B4-BE49-F238E27FC236}">
                    <a16:creationId xmlns:a16="http://schemas.microsoft.com/office/drawing/2014/main" id="{F301C042-63D9-537E-A240-06782AD72BC2}"/>
                  </a:ext>
                </a:extLst>
              </p:cNvPr>
              <p:cNvPicPr/>
              <p:nvPr/>
            </p:nvPicPr>
            <p:blipFill>
              <a:blip r:embed="rId5" cstate="print"/>
              <a:stretch>
                <a:fillRect/>
              </a:stretch>
            </p:blipFill>
            <p:spPr>
              <a:xfrm>
                <a:off x="3305204" y="5425211"/>
                <a:ext cx="104571" cy="112763"/>
              </a:xfrm>
              <a:prstGeom prst="rect">
                <a:avLst/>
              </a:prstGeom>
            </p:spPr>
          </p:pic>
          <p:sp>
            <p:nvSpPr>
              <p:cNvPr id="61" name="object 54">
                <a:extLst>
                  <a:ext uri="{FF2B5EF4-FFF2-40B4-BE49-F238E27FC236}">
                    <a16:creationId xmlns:a16="http://schemas.microsoft.com/office/drawing/2014/main" id="{FF42DD8A-B175-51B6-937D-FFF60A32F1F7}"/>
                  </a:ext>
                </a:extLst>
              </p:cNvPr>
              <p:cNvSpPr/>
              <p:nvPr/>
            </p:nvSpPr>
            <p:spPr>
              <a:xfrm>
                <a:off x="3441909" y="5425011"/>
                <a:ext cx="63500" cy="111125"/>
              </a:xfrm>
              <a:custGeom>
                <a:avLst/>
                <a:gdLst/>
                <a:ahLst/>
                <a:cxnLst/>
                <a:rect l="l" t="t" r="r" b="b"/>
                <a:pathLst>
                  <a:path w="63500" h="111125">
                    <a:moveTo>
                      <a:pt x="53682" y="0"/>
                    </a:moveTo>
                    <a:lnTo>
                      <a:pt x="45758" y="2247"/>
                    </a:lnTo>
                    <a:lnTo>
                      <a:pt x="33223" y="12077"/>
                    </a:lnTo>
                    <a:lnTo>
                      <a:pt x="28371" y="18630"/>
                    </a:lnTo>
                    <a:lnTo>
                      <a:pt x="24968" y="26809"/>
                    </a:lnTo>
                    <a:lnTo>
                      <a:pt x="24968" y="2451"/>
                    </a:lnTo>
                    <a:lnTo>
                      <a:pt x="0" y="2451"/>
                    </a:lnTo>
                    <a:lnTo>
                      <a:pt x="0" y="110502"/>
                    </a:lnTo>
                    <a:lnTo>
                      <a:pt x="24968" y="110502"/>
                    </a:lnTo>
                    <a:lnTo>
                      <a:pt x="24968" y="62280"/>
                    </a:lnTo>
                    <a:lnTo>
                      <a:pt x="25857" y="56045"/>
                    </a:lnTo>
                    <a:lnTo>
                      <a:pt x="51358" y="27495"/>
                    </a:lnTo>
                    <a:lnTo>
                      <a:pt x="56337" y="26606"/>
                    </a:lnTo>
                    <a:lnTo>
                      <a:pt x="63233" y="26606"/>
                    </a:lnTo>
                    <a:lnTo>
                      <a:pt x="63233" y="406"/>
                    </a:lnTo>
                    <a:lnTo>
                      <a:pt x="53682" y="0"/>
                    </a:lnTo>
                    <a:close/>
                  </a:path>
                </a:pathLst>
              </a:custGeom>
              <a:solidFill>
                <a:srgbClr val="221815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</p:grpSp>
        <p:grpSp>
          <p:nvGrpSpPr>
            <p:cNvPr id="38" name="object 55">
              <a:extLst>
                <a:ext uri="{FF2B5EF4-FFF2-40B4-BE49-F238E27FC236}">
                  <a16:creationId xmlns:a16="http://schemas.microsoft.com/office/drawing/2014/main" id="{35A5543D-85A7-5F3B-D4BE-10FF56914C9B}"/>
                </a:ext>
              </a:extLst>
            </p:cNvPr>
            <p:cNvGrpSpPr/>
            <p:nvPr/>
          </p:nvGrpSpPr>
          <p:grpSpPr>
            <a:xfrm>
              <a:off x="3598668" y="5386129"/>
              <a:ext cx="1113155" cy="182245"/>
              <a:chOff x="3598668" y="5386129"/>
              <a:chExt cx="1113155" cy="182245"/>
            </a:xfrm>
          </p:grpSpPr>
          <p:pic>
            <p:nvPicPr>
              <p:cNvPr id="48" name="object 56">
                <a:extLst>
                  <a:ext uri="{FF2B5EF4-FFF2-40B4-BE49-F238E27FC236}">
                    <a16:creationId xmlns:a16="http://schemas.microsoft.com/office/drawing/2014/main" id="{02AA4338-8FCE-C4EE-4374-D2C1AE93B51F}"/>
                  </a:ext>
                </a:extLst>
              </p:cNvPr>
              <p:cNvPicPr/>
              <p:nvPr/>
            </p:nvPicPr>
            <p:blipFill>
              <a:blip r:embed="rId6" cstate="print"/>
              <a:stretch>
                <a:fillRect/>
              </a:stretch>
            </p:blipFill>
            <p:spPr>
              <a:xfrm>
                <a:off x="3598668" y="5389810"/>
                <a:ext cx="149796" cy="148158"/>
              </a:xfrm>
              <a:prstGeom prst="rect">
                <a:avLst/>
              </a:prstGeom>
            </p:spPr>
          </p:pic>
          <p:pic>
            <p:nvPicPr>
              <p:cNvPr id="49" name="object 57">
                <a:extLst>
                  <a:ext uri="{FF2B5EF4-FFF2-40B4-BE49-F238E27FC236}">
                    <a16:creationId xmlns:a16="http://schemas.microsoft.com/office/drawing/2014/main" id="{0F18BFB1-4A8F-7929-677F-B6A7D01F4669}"/>
                  </a:ext>
                </a:extLst>
              </p:cNvPr>
              <p:cNvPicPr/>
              <p:nvPr/>
            </p:nvPicPr>
            <p:blipFill>
              <a:blip r:embed="rId7" cstate="print"/>
              <a:stretch>
                <a:fillRect/>
              </a:stretch>
            </p:blipFill>
            <p:spPr>
              <a:xfrm>
                <a:off x="3770153" y="5427051"/>
                <a:ext cx="163093" cy="109283"/>
              </a:xfrm>
              <a:prstGeom prst="rect">
                <a:avLst/>
              </a:prstGeom>
            </p:spPr>
          </p:pic>
          <p:pic>
            <p:nvPicPr>
              <p:cNvPr id="50" name="object 58">
                <a:extLst>
                  <a:ext uri="{FF2B5EF4-FFF2-40B4-BE49-F238E27FC236}">
                    <a16:creationId xmlns:a16="http://schemas.microsoft.com/office/drawing/2014/main" id="{FE29E9F2-741F-C722-F5A2-12454AA30A2F}"/>
                  </a:ext>
                </a:extLst>
              </p:cNvPr>
              <p:cNvPicPr/>
              <p:nvPr/>
            </p:nvPicPr>
            <p:blipFill>
              <a:blip r:embed="rId8" cstate="print"/>
              <a:stretch>
                <a:fillRect/>
              </a:stretch>
            </p:blipFill>
            <p:spPr>
              <a:xfrm>
                <a:off x="3958411" y="5425217"/>
                <a:ext cx="97002" cy="110299"/>
              </a:xfrm>
              <a:prstGeom prst="rect">
                <a:avLst/>
              </a:prstGeom>
            </p:spPr>
          </p:pic>
          <p:pic>
            <p:nvPicPr>
              <p:cNvPr id="51" name="object 59">
                <a:extLst>
                  <a:ext uri="{FF2B5EF4-FFF2-40B4-BE49-F238E27FC236}">
                    <a16:creationId xmlns:a16="http://schemas.microsoft.com/office/drawing/2014/main" id="{4DAC0D88-E5D0-D4BC-708C-7E0CB42041C7}"/>
                  </a:ext>
                </a:extLst>
              </p:cNvPr>
              <p:cNvPicPr/>
              <p:nvPr/>
            </p:nvPicPr>
            <p:blipFill>
              <a:blip r:embed="rId9" cstate="print"/>
              <a:stretch>
                <a:fillRect/>
              </a:stretch>
            </p:blipFill>
            <p:spPr>
              <a:xfrm>
                <a:off x="4082436" y="5425212"/>
                <a:ext cx="104559" cy="112763"/>
              </a:xfrm>
              <a:prstGeom prst="rect">
                <a:avLst/>
              </a:prstGeom>
            </p:spPr>
          </p:pic>
          <p:pic>
            <p:nvPicPr>
              <p:cNvPr id="52" name="object 60">
                <a:extLst>
                  <a:ext uri="{FF2B5EF4-FFF2-40B4-BE49-F238E27FC236}">
                    <a16:creationId xmlns:a16="http://schemas.microsoft.com/office/drawing/2014/main" id="{E1A2579A-3601-FCF3-236D-599016240EA6}"/>
                  </a:ext>
                </a:extLst>
              </p:cNvPr>
              <p:cNvPicPr/>
              <p:nvPr/>
            </p:nvPicPr>
            <p:blipFill>
              <a:blip r:embed="rId10" cstate="print"/>
              <a:stretch>
                <a:fillRect/>
              </a:stretch>
            </p:blipFill>
            <p:spPr>
              <a:xfrm>
                <a:off x="4215032" y="5425004"/>
                <a:ext cx="164739" cy="112561"/>
              </a:xfrm>
              <a:prstGeom prst="rect">
                <a:avLst/>
              </a:prstGeom>
            </p:spPr>
          </p:pic>
          <p:pic>
            <p:nvPicPr>
              <p:cNvPr id="53" name="object 61">
                <a:extLst>
                  <a:ext uri="{FF2B5EF4-FFF2-40B4-BE49-F238E27FC236}">
                    <a16:creationId xmlns:a16="http://schemas.microsoft.com/office/drawing/2014/main" id="{8203B588-CCE7-0B3C-95DC-AAAEA97A72B9}"/>
                  </a:ext>
                </a:extLst>
              </p:cNvPr>
              <p:cNvPicPr/>
              <p:nvPr/>
            </p:nvPicPr>
            <p:blipFill>
              <a:blip r:embed="rId11" cstate="print"/>
              <a:stretch>
                <a:fillRect/>
              </a:stretch>
            </p:blipFill>
            <p:spPr>
              <a:xfrm>
                <a:off x="4408001" y="5386129"/>
                <a:ext cx="97002" cy="149390"/>
              </a:xfrm>
              <a:prstGeom prst="rect">
                <a:avLst/>
              </a:prstGeom>
            </p:spPr>
          </p:pic>
          <p:sp>
            <p:nvSpPr>
              <p:cNvPr id="54" name="object 62">
                <a:extLst>
                  <a:ext uri="{FF2B5EF4-FFF2-40B4-BE49-F238E27FC236}">
                    <a16:creationId xmlns:a16="http://schemas.microsoft.com/office/drawing/2014/main" id="{67B839B5-CA5F-2FC3-4B04-AFC081F5A04D}"/>
                  </a:ext>
                </a:extLst>
              </p:cNvPr>
              <p:cNvSpPr/>
              <p:nvPr/>
            </p:nvSpPr>
            <p:spPr>
              <a:xfrm>
                <a:off x="4538370" y="5387365"/>
                <a:ext cx="27305" cy="148590"/>
              </a:xfrm>
              <a:custGeom>
                <a:avLst/>
                <a:gdLst/>
                <a:ahLst/>
                <a:cxnLst/>
                <a:rect l="l" t="t" r="r" b="b"/>
                <a:pathLst>
                  <a:path w="27304" h="148589">
                    <a:moveTo>
                      <a:pt x="25984" y="40106"/>
                    </a:moveTo>
                    <a:lnTo>
                      <a:pt x="1016" y="40106"/>
                    </a:lnTo>
                    <a:lnTo>
                      <a:pt x="1016" y="148158"/>
                    </a:lnTo>
                    <a:lnTo>
                      <a:pt x="25984" y="148158"/>
                    </a:lnTo>
                    <a:lnTo>
                      <a:pt x="25984" y="40106"/>
                    </a:lnTo>
                    <a:close/>
                  </a:path>
                  <a:path w="27304" h="148589">
                    <a:moveTo>
                      <a:pt x="26797" y="0"/>
                    </a:moveTo>
                    <a:lnTo>
                      <a:pt x="0" y="0"/>
                    </a:lnTo>
                    <a:lnTo>
                      <a:pt x="0" y="23533"/>
                    </a:lnTo>
                    <a:lnTo>
                      <a:pt x="26797" y="23533"/>
                    </a:lnTo>
                    <a:lnTo>
                      <a:pt x="26797" y="0"/>
                    </a:lnTo>
                    <a:close/>
                  </a:path>
                </a:pathLst>
              </a:custGeom>
              <a:solidFill>
                <a:srgbClr val="221815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pic>
            <p:nvPicPr>
              <p:cNvPr id="55" name="object 63">
                <a:extLst>
                  <a:ext uri="{FF2B5EF4-FFF2-40B4-BE49-F238E27FC236}">
                    <a16:creationId xmlns:a16="http://schemas.microsoft.com/office/drawing/2014/main" id="{AB8068ED-961E-8F1B-8B96-C5A93E9AF6EF}"/>
                  </a:ext>
                </a:extLst>
              </p:cNvPr>
              <p:cNvPicPr/>
              <p:nvPr/>
            </p:nvPicPr>
            <p:blipFill>
              <a:blip r:embed="rId12" cstate="print"/>
              <a:stretch>
                <a:fillRect/>
              </a:stretch>
            </p:blipFill>
            <p:spPr>
              <a:xfrm>
                <a:off x="4599562" y="5425219"/>
                <a:ext cx="111721" cy="143040"/>
              </a:xfrm>
              <a:prstGeom prst="rect">
                <a:avLst/>
              </a:prstGeom>
            </p:spPr>
          </p:pic>
        </p:grpSp>
        <p:pic>
          <p:nvPicPr>
            <p:cNvPr id="39" name="object 64">
              <a:extLst>
                <a:ext uri="{FF2B5EF4-FFF2-40B4-BE49-F238E27FC236}">
                  <a16:creationId xmlns:a16="http://schemas.microsoft.com/office/drawing/2014/main" id="{0C97921A-BF4A-86A5-CEE0-EA25C61A643C}"/>
                </a:ext>
              </a:extLst>
            </p:cNvPr>
            <p:cNvPicPr/>
            <p:nvPr/>
          </p:nvPicPr>
          <p:blipFill>
            <a:blip r:embed="rId13" cstate="print"/>
            <a:stretch>
              <a:fillRect/>
            </a:stretch>
          </p:blipFill>
          <p:spPr>
            <a:xfrm>
              <a:off x="2806094" y="5632719"/>
              <a:ext cx="1334244" cy="176400"/>
            </a:xfrm>
            <a:prstGeom prst="rect">
              <a:avLst/>
            </a:prstGeom>
          </p:spPr>
        </p:pic>
        <p:grpSp>
          <p:nvGrpSpPr>
            <p:cNvPr id="40" name="object 65">
              <a:extLst>
                <a:ext uri="{FF2B5EF4-FFF2-40B4-BE49-F238E27FC236}">
                  <a16:creationId xmlns:a16="http://schemas.microsoft.com/office/drawing/2014/main" id="{D5717A5F-FE6B-EDC6-DE15-A7B1A793C0D2}"/>
                </a:ext>
              </a:extLst>
            </p:cNvPr>
            <p:cNvGrpSpPr/>
            <p:nvPr/>
          </p:nvGrpSpPr>
          <p:grpSpPr>
            <a:xfrm>
              <a:off x="4223223" y="5626578"/>
              <a:ext cx="670560" cy="151765"/>
              <a:chOff x="4223223" y="5626578"/>
              <a:chExt cx="670560" cy="151765"/>
            </a:xfrm>
          </p:grpSpPr>
          <p:pic>
            <p:nvPicPr>
              <p:cNvPr id="46" name="object 66">
                <a:extLst>
                  <a:ext uri="{FF2B5EF4-FFF2-40B4-BE49-F238E27FC236}">
                    <a16:creationId xmlns:a16="http://schemas.microsoft.com/office/drawing/2014/main" id="{038FADBB-74B8-84A9-A439-76FA25EC8B50}"/>
                  </a:ext>
                </a:extLst>
              </p:cNvPr>
              <p:cNvPicPr/>
              <p:nvPr/>
            </p:nvPicPr>
            <p:blipFill>
              <a:blip r:embed="rId14" cstate="print"/>
              <a:stretch>
                <a:fillRect/>
              </a:stretch>
            </p:blipFill>
            <p:spPr>
              <a:xfrm>
                <a:off x="4223223" y="5631704"/>
                <a:ext cx="444056" cy="146517"/>
              </a:xfrm>
              <a:prstGeom prst="rect">
                <a:avLst/>
              </a:prstGeom>
            </p:spPr>
          </p:pic>
          <p:pic>
            <p:nvPicPr>
              <p:cNvPr id="47" name="object 67">
                <a:extLst>
                  <a:ext uri="{FF2B5EF4-FFF2-40B4-BE49-F238E27FC236}">
                    <a16:creationId xmlns:a16="http://schemas.microsoft.com/office/drawing/2014/main" id="{8E489A30-EF88-FD60-5617-AF60FF696E0C}"/>
                  </a:ext>
                </a:extLst>
              </p:cNvPr>
              <p:cNvPicPr/>
              <p:nvPr/>
            </p:nvPicPr>
            <p:blipFill>
              <a:blip r:embed="rId15" cstate="print"/>
              <a:stretch>
                <a:fillRect/>
              </a:stretch>
            </p:blipFill>
            <p:spPr>
              <a:xfrm>
                <a:off x="4699816" y="5626578"/>
                <a:ext cx="193794" cy="151637"/>
              </a:xfrm>
              <a:prstGeom prst="rect">
                <a:avLst/>
              </a:prstGeom>
            </p:spPr>
          </p:pic>
        </p:grpSp>
        <p:pic>
          <p:nvPicPr>
            <p:cNvPr id="41" name="object 68">
              <a:extLst>
                <a:ext uri="{FF2B5EF4-FFF2-40B4-BE49-F238E27FC236}">
                  <a16:creationId xmlns:a16="http://schemas.microsoft.com/office/drawing/2014/main" id="{F61F0251-EF73-568F-4675-B329BE9204F0}"/>
                </a:ext>
              </a:extLst>
            </p:cNvPr>
            <p:cNvPicPr/>
            <p:nvPr/>
          </p:nvPicPr>
          <p:blipFill>
            <a:blip r:embed="rId16" cstate="print"/>
            <a:stretch>
              <a:fillRect/>
            </a:stretch>
          </p:blipFill>
          <p:spPr>
            <a:xfrm>
              <a:off x="1879156" y="5498016"/>
              <a:ext cx="131203" cy="197561"/>
            </a:xfrm>
            <a:prstGeom prst="rect">
              <a:avLst/>
            </a:prstGeom>
          </p:spPr>
        </p:pic>
        <p:grpSp>
          <p:nvGrpSpPr>
            <p:cNvPr id="42" name="object 69">
              <a:extLst>
                <a:ext uri="{FF2B5EF4-FFF2-40B4-BE49-F238E27FC236}">
                  <a16:creationId xmlns:a16="http://schemas.microsoft.com/office/drawing/2014/main" id="{EA4E8098-4C91-32AE-2C14-962471F61926}"/>
                </a:ext>
              </a:extLst>
            </p:cNvPr>
            <p:cNvGrpSpPr/>
            <p:nvPr/>
          </p:nvGrpSpPr>
          <p:grpSpPr>
            <a:xfrm>
              <a:off x="2057979" y="5498016"/>
              <a:ext cx="368300" cy="200660"/>
              <a:chOff x="2057979" y="5498016"/>
              <a:chExt cx="368300" cy="200660"/>
            </a:xfrm>
          </p:grpSpPr>
          <p:pic>
            <p:nvPicPr>
              <p:cNvPr id="44" name="object 70">
                <a:extLst>
                  <a:ext uri="{FF2B5EF4-FFF2-40B4-BE49-F238E27FC236}">
                    <a16:creationId xmlns:a16="http://schemas.microsoft.com/office/drawing/2014/main" id="{2ED7C3F0-B113-6E3E-229D-38F852637842}"/>
                  </a:ext>
                </a:extLst>
              </p:cNvPr>
              <p:cNvPicPr/>
              <p:nvPr/>
            </p:nvPicPr>
            <p:blipFill>
              <a:blip r:embed="rId17" cstate="print"/>
              <a:stretch>
                <a:fillRect/>
              </a:stretch>
            </p:blipFill>
            <p:spPr>
              <a:xfrm>
                <a:off x="2057979" y="5499087"/>
                <a:ext cx="199440" cy="199453"/>
              </a:xfrm>
              <a:prstGeom prst="rect">
                <a:avLst/>
              </a:prstGeom>
            </p:spPr>
          </p:pic>
          <p:pic>
            <p:nvPicPr>
              <p:cNvPr id="45" name="object 71">
                <a:extLst>
                  <a:ext uri="{FF2B5EF4-FFF2-40B4-BE49-F238E27FC236}">
                    <a16:creationId xmlns:a16="http://schemas.microsoft.com/office/drawing/2014/main" id="{892D91E0-DE0A-0BA9-067B-3E47DFB4233C}"/>
                  </a:ext>
                </a:extLst>
              </p:cNvPr>
              <p:cNvPicPr/>
              <p:nvPr/>
            </p:nvPicPr>
            <p:blipFill>
              <a:blip r:embed="rId18" cstate="print"/>
              <a:stretch>
                <a:fillRect/>
              </a:stretch>
            </p:blipFill>
            <p:spPr>
              <a:xfrm>
                <a:off x="2294486" y="5498016"/>
                <a:ext cx="131203" cy="197561"/>
              </a:xfrm>
              <a:prstGeom prst="rect">
                <a:avLst/>
              </a:prstGeom>
            </p:spPr>
          </p:pic>
        </p:grpSp>
        <p:pic>
          <p:nvPicPr>
            <p:cNvPr id="43" name="object 72">
              <a:extLst>
                <a:ext uri="{FF2B5EF4-FFF2-40B4-BE49-F238E27FC236}">
                  <a16:creationId xmlns:a16="http://schemas.microsoft.com/office/drawing/2014/main" id="{A945A61D-EFE6-E152-ED90-F3DC44430540}"/>
                </a:ext>
              </a:extLst>
            </p:cNvPr>
            <p:cNvPicPr/>
            <p:nvPr/>
          </p:nvPicPr>
          <p:blipFill>
            <a:blip r:embed="rId19" cstate="print"/>
            <a:stretch>
              <a:fillRect/>
            </a:stretch>
          </p:blipFill>
          <p:spPr>
            <a:xfrm>
              <a:off x="2481940" y="5501791"/>
              <a:ext cx="132651" cy="1966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1329499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エントリーシート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正方形/長方形 6">
            <a:extLst>
              <a:ext uri="{FF2B5EF4-FFF2-40B4-BE49-F238E27FC236}">
                <a16:creationId xmlns:a16="http://schemas.microsoft.com/office/drawing/2014/main" id="{0082205D-CDBB-B87F-3E90-F66B4FB81FCA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sz="2117"/>
          </a:p>
        </p:txBody>
      </p:sp>
      <p:sp>
        <p:nvSpPr>
          <p:cNvPr id="33" name="正方形/長方形 32">
            <a:extLst>
              <a:ext uri="{FF2B5EF4-FFF2-40B4-BE49-F238E27FC236}">
                <a16:creationId xmlns:a16="http://schemas.microsoft.com/office/drawing/2014/main" id="{E8413F63-03CB-B0A9-2A76-D4195823515C}"/>
              </a:ext>
            </a:extLst>
          </p:cNvPr>
          <p:cNvSpPr/>
          <p:nvPr userDrawn="1"/>
        </p:nvSpPr>
        <p:spPr>
          <a:xfrm>
            <a:off x="275852" y="463086"/>
            <a:ext cx="11640301" cy="336248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4418">
              <a:defRPr/>
            </a:pPr>
            <a:r>
              <a:rPr lang="ja-JP" altLang="en-US" sz="1050" b="1">
                <a:solidFill>
                  <a:prstClr val="white"/>
                </a:solidFill>
                <a:latin typeface="游ゴシック" panose="020F0502020204030204"/>
                <a:ea typeface="游ゴシック" panose="020B0400000000000000" pitchFamily="50" charset="-128"/>
              </a:rPr>
              <a:t>参考資料添付③　</a:t>
            </a:r>
            <a:r>
              <a:rPr lang="en-US" altLang="ja-JP" sz="1050">
                <a:solidFill>
                  <a:prstClr val="white"/>
                </a:solidFill>
                <a:latin typeface="游ゴシック" panose="020F0502020204030204"/>
                <a:ea typeface="游ゴシック" panose="020B0400000000000000" pitchFamily="50" charset="-128"/>
              </a:rPr>
              <a:t>※</a:t>
            </a:r>
            <a:r>
              <a:rPr lang="ja-JP" altLang="en-US" sz="1050">
                <a:solidFill>
                  <a:prstClr val="white"/>
                </a:solidFill>
                <a:latin typeface="游ゴシック" panose="020F0502020204030204"/>
                <a:ea typeface="游ゴシック" panose="020B0400000000000000" pitchFamily="50" charset="-128"/>
              </a:rPr>
              <a:t>参考資料は</a:t>
            </a:r>
            <a:r>
              <a:rPr lang="en-US" altLang="ja-JP" sz="1050">
                <a:solidFill>
                  <a:prstClr val="white"/>
                </a:solidFill>
                <a:latin typeface="游ゴシック" panose="020F0502020204030204"/>
                <a:ea typeface="游ゴシック" panose="020B0400000000000000" pitchFamily="50" charset="-128"/>
              </a:rPr>
              <a:t>3</a:t>
            </a:r>
            <a:r>
              <a:rPr lang="ja-JP" altLang="en-US" sz="1050">
                <a:solidFill>
                  <a:prstClr val="white"/>
                </a:solidFill>
                <a:latin typeface="游ゴシック" panose="020F0502020204030204"/>
                <a:ea typeface="游ゴシック" panose="020B0400000000000000" pitchFamily="50" charset="-128"/>
              </a:rPr>
              <a:t>枚まで添付可能です。</a:t>
            </a:r>
          </a:p>
        </p:txBody>
      </p:sp>
      <p:sp>
        <p:nvSpPr>
          <p:cNvPr id="34" name="正方形/長方形 33">
            <a:extLst>
              <a:ext uri="{FF2B5EF4-FFF2-40B4-BE49-F238E27FC236}">
                <a16:creationId xmlns:a16="http://schemas.microsoft.com/office/drawing/2014/main" id="{A10F69A1-AA91-10FA-CF80-6FFC04895413}"/>
              </a:ext>
            </a:extLst>
          </p:cNvPr>
          <p:cNvSpPr/>
          <p:nvPr userDrawn="1"/>
        </p:nvSpPr>
        <p:spPr>
          <a:xfrm>
            <a:off x="275852" y="799334"/>
            <a:ext cx="11640301" cy="5869754"/>
          </a:xfrm>
          <a:prstGeom prst="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4418">
              <a:defRPr/>
            </a:pPr>
            <a:endParaRPr lang="ja-JP" altLang="en-US" sz="1050">
              <a:solidFill>
                <a:prstClr val="black"/>
              </a:solidFill>
              <a:latin typeface="游ゴシック" panose="020F0502020204030204"/>
              <a:ea typeface="游ゴシック" panose="020B0400000000000000" pitchFamily="50" charset="-128"/>
            </a:endParaRPr>
          </a:p>
        </p:txBody>
      </p:sp>
      <p:grpSp>
        <p:nvGrpSpPr>
          <p:cNvPr id="35" name="グループ化 34">
            <a:extLst>
              <a:ext uri="{FF2B5EF4-FFF2-40B4-BE49-F238E27FC236}">
                <a16:creationId xmlns:a16="http://schemas.microsoft.com/office/drawing/2014/main" id="{4D6A8F37-10AE-DFCA-CF8B-5CFA8F5EF0E7}"/>
              </a:ext>
            </a:extLst>
          </p:cNvPr>
          <p:cNvGrpSpPr/>
          <p:nvPr userDrawn="1"/>
        </p:nvGrpSpPr>
        <p:grpSpPr>
          <a:xfrm>
            <a:off x="10122799" y="111307"/>
            <a:ext cx="1793284" cy="301028"/>
            <a:chOff x="513270" y="5229997"/>
            <a:chExt cx="4380513" cy="735330"/>
          </a:xfrm>
        </p:grpSpPr>
        <p:grpSp>
          <p:nvGrpSpPr>
            <p:cNvPr id="36" name="object 45">
              <a:extLst>
                <a:ext uri="{FF2B5EF4-FFF2-40B4-BE49-F238E27FC236}">
                  <a16:creationId xmlns:a16="http://schemas.microsoft.com/office/drawing/2014/main" id="{78F66CE5-3A1F-EE8E-7A8C-A1B340878DBC}"/>
                </a:ext>
              </a:extLst>
            </p:cNvPr>
            <p:cNvGrpSpPr/>
            <p:nvPr/>
          </p:nvGrpSpPr>
          <p:grpSpPr>
            <a:xfrm>
              <a:off x="513270" y="5229997"/>
              <a:ext cx="1193165" cy="735330"/>
              <a:chOff x="513270" y="5229997"/>
              <a:chExt cx="1193165" cy="735330"/>
            </a:xfrm>
          </p:grpSpPr>
          <p:pic>
            <p:nvPicPr>
              <p:cNvPr id="62" name="object 46">
                <a:extLst>
                  <a:ext uri="{FF2B5EF4-FFF2-40B4-BE49-F238E27FC236}">
                    <a16:creationId xmlns:a16="http://schemas.microsoft.com/office/drawing/2014/main" id="{FC2ACF1F-C897-8B05-BC8C-47CA2F10FB99}"/>
                  </a:ext>
                </a:extLst>
              </p:cNvPr>
              <p:cNvPicPr/>
              <p:nvPr/>
            </p:nvPicPr>
            <p:blipFill>
              <a:blip r:embed="rId2" cstate="print"/>
              <a:stretch>
                <a:fillRect/>
              </a:stretch>
            </p:blipFill>
            <p:spPr>
              <a:xfrm>
                <a:off x="513270" y="5229999"/>
                <a:ext cx="596315" cy="735253"/>
              </a:xfrm>
              <a:prstGeom prst="rect">
                <a:avLst/>
              </a:prstGeom>
            </p:spPr>
          </p:pic>
          <p:sp>
            <p:nvSpPr>
              <p:cNvPr id="63" name="object 47">
                <a:extLst>
                  <a:ext uri="{FF2B5EF4-FFF2-40B4-BE49-F238E27FC236}">
                    <a16:creationId xmlns:a16="http://schemas.microsoft.com/office/drawing/2014/main" id="{D2E7400E-FDC1-3838-3CB9-00A27BFFDCB8}"/>
                  </a:ext>
                </a:extLst>
              </p:cNvPr>
              <p:cNvSpPr/>
              <p:nvPr/>
            </p:nvSpPr>
            <p:spPr>
              <a:xfrm>
                <a:off x="970751" y="5229997"/>
                <a:ext cx="735330" cy="735330"/>
              </a:xfrm>
              <a:custGeom>
                <a:avLst/>
                <a:gdLst/>
                <a:ahLst/>
                <a:cxnLst/>
                <a:rect l="l" t="t" r="r" b="b"/>
                <a:pathLst>
                  <a:path w="735330" h="735329">
                    <a:moveTo>
                      <a:pt x="367626" y="0"/>
                    </a:moveTo>
                    <a:lnTo>
                      <a:pt x="321512" y="2864"/>
                    </a:lnTo>
                    <a:lnTo>
                      <a:pt x="277107" y="11227"/>
                    </a:lnTo>
                    <a:lnTo>
                      <a:pt x="234756" y="24745"/>
                    </a:lnTo>
                    <a:lnTo>
                      <a:pt x="194803" y="43073"/>
                    </a:lnTo>
                    <a:lnTo>
                      <a:pt x="157593" y="65866"/>
                    </a:lnTo>
                    <a:lnTo>
                      <a:pt x="123471" y="92780"/>
                    </a:lnTo>
                    <a:lnTo>
                      <a:pt x="92780" y="123471"/>
                    </a:lnTo>
                    <a:lnTo>
                      <a:pt x="65866" y="157593"/>
                    </a:lnTo>
                    <a:lnTo>
                      <a:pt x="43073" y="194803"/>
                    </a:lnTo>
                    <a:lnTo>
                      <a:pt x="24745" y="234756"/>
                    </a:lnTo>
                    <a:lnTo>
                      <a:pt x="11227" y="277107"/>
                    </a:lnTo>
                    <a:lnTo>
                      <a:pt x="2864" y="321512"/>
                    </a:lnTo>
                    <a:lnTo>
                      <a:pt x="0" y="367626"/>
                    </a:lnTo>
                    <a:lnTo>
                      <a:pt x="2852" y="413548"/>
                    </a:lnTo>
                    <a:lnTo>
                      <a:pt x="2864" y="413741"/>
                    </a:lnTo>
                    <a:lnTo>
                      <a:pt x="11227" y="458146"/>
                    </a:lnTo>
                    <a:lnTo>
                      <a:pt x="24745" y="500497"/>
                    </a:lnTo>
                    <a:lnTo>
                      <a:pt x="43073" y="540450"/>
                    </a:lnTo>
                    <a:lnTo>
                      <a:pt x="65866" y="577660"/>
                    </a:lnTo>
                    <a:lnTo>
                      <a:pt x="92780" y="611782"/>
                    </a:lnTo>
                    <a:lnTo>
                      <a:pt x="123471" y="642473"/>
                    </a:lnTo>
                    <a:lnTo>
                      <a:pt x="157593" y="669387"/>
                    </a:lnTo>
                    <a:lnTo>
                      <a:pt x="194803" y="692180"/>
                    </a:lnTo>
                    <a:lnTo>
                      <a:pt x="234756" y="710508"/>
                    </a:lnTo>
                    <a:lnTo>
                      <a:pt x="277107" y="724026"/>
                    </a:lnTo>
                    <a:lnTo>
                      <a:pt x="321512" y="732389"/>
                    </a:lnTo>
                    <a:lnTo>
                      <a:pt x="367626" y="735253"/>
                    </a:lnTo>
                    <a:lnTo>
                      <a:pt x="413741" y="732389"/>
                    </a:lnTo>
                    <a:lnTo>
                      <a:pt x="458146" y="724026"/>
                    </a:lnTo>
                    <a:lnTo>
                      <a:pt x="500497" y="710508"/>
                    </a:lnTo>
                    <a:lnTo>
                      <a:pt x="540450" y="692180"/>
                    </a:lnTo>
                    <a:lnTo>
                      <a:pt x="577660" y="669387"/>
                    </a:lnTo>
                    <a:lnTo>
                      <a:pt x="611782" y="642473"/>
                    </a:lnTo>
                    <a:lnTo>
                      <a:pt x="642473" y="611782"/>
                    </a:lnTo>
                    <a:lnTo>
                      <a:pt x="669387" y="577660"/>
                    </a:lnTo>
                    <a:lnTo>
                      <a:pt x="675214" y="568147"/>
                    </a:lnTo>
                    <a:lnTo>
                      <a:pt x="367626" y="568147"/>
                    </a:lnTo>
                    <a:lnTo>
                      <a:pt x="321706" y="562841"/>
                    </a:lnTo>
                    <a:lnTo>
                      <a:pt x="279523" y="547734"/>
                    </a:lnTo>
                    <a:lnTo>
                      <a:pt x="242291" y="524039"/>
                    </a:lnTo>
                    <a:lnTo>
                      <a:pt x="211222" y="492967"/>
                    </a:lnTo>
                    <a:lnTo>
                      <a:pt x="187529" y="455732"/>
                    </a:lnTo>
                    <a:lnTo>
                      <a:pt x="172492" y="413741"/>
                    </a:lnTo>
                    <a:lnTo>
                      <a:pt x="167119" y="367626"/>
                    </a:lnTo>
                    <a:lnTo>
                      <a:pt x="172423" y="321706"/>
                    </a:lnTo>
                    <a:lnTo>
                      <a:pt x="187529" y="279523"/>
                    </a:lnTo>
                    <a:lnTo>
                      <a:pt x="211222" y="242291"/>
                    </a:lnTo>
                    <a:lnTo>
                      <a:pt x="242291" y="211222"/>
                    </a:lnTo>
                    <a:lnTo>
                      <a:pt x="279523" y="187529"/>
                    </a:lnTo>
                    <a:lnTo>
                      <a:pt x="321706" y="172423"/>
                    </a:lnTo>
                    <a:lnTo>
                      <a:pt x="367626" y="167119"/>
                    </a:lnTo>
                    <a:lnTo>
                      <a:pt x="675222" y="167119"/>
                    </a:lnTo>
                    <a:lnTo>
                      <a:pt x="669387" y="157593"/>
                    </a:lnTo>
                    <a:lnTo>
                      <a:pt x="642473" y="123471"/>
                    </a:lnTo>
                    <a:lnTo>
                      <a:pt x="611782" y="92780"/>
                    </a:lnTo>
                    <a:lnTo>
                      <a:pt x="577660" y="65866"/>
                    </a:lnTo>
                    <a:lnTo>
                      <a:pt x="540450" y="43073"/>
                    </a:lnTo>
                    <a:lnTo>
                      <a:pt x="500497" y="24745"/>
                    </a:lnTo>
                    <a:lnTo>
                      <a:pt x="458146" y="11227"/>
                    </a:lnTo>
                    <a:lnTo>
                      <a:pt x="413741" y="2864"/>
                    </a:lnTo>
                    <a:lnTo>
                      <a:pt x="367626" y="0"/>
                    </a:lnTo>
                    <a:close/>
                  </a:path>
                  <a:path w="735330" h="735329">
                    <a:moveTo>
                      <a:pt x="675222" y="167119"/>
                    </a:moveTo>
                    <a:lnTo>
                      <a:pt x="367626" y="167119"/>
                    </a:lnTo>
                    <a:lnTo>
                      <a:pt x="413547" y="172423"/>
                    </a:lnTo>
                    <a:lnTo>
                      <a:pt x="455730" y="187529"/>
                    </a:lnTo>
                    <a:lnTo>
                      <a:pt x="492962" y="211222"/>
                    </a:lnTo>
                    <a:lnTo>
                      <a:pt x="524031" y="242291"/>
                    </a:lnTo>
                    <a:lnTo>
                      <a:pt x="547724" y="279523"/>
                    </a:lnTo>
                    <a:lnTo>
                      <a:pt x="562760" y="321512"/>
                    </a:lnTo>
                    <a:lnTo>
                      <a:pt x="562829" y="321706"/>
                    </a:lnTo>
                    <a:lnTo>
                      <a:pt x="568134" y="367626"/>
                    </a:lnTo>
                    <a:lnTo>
                      <a:pt x="562829" y="413548"/>
                    </a:lnTo>
                    <a:lnTo>
                      <a:pt x="547724" y="455732"/>
                    </a:lnTo>
                    <a:lnTo>
                      <a:pt x="524031" y="492967"/>
                    </a:lnTo>
                    <a:lnTo>
                      <a:pt x="492962" y="524039"/>
                    </a:lnTo>
                    <a:lnTo>
                      <a:pt x="455730" y="547734"/>
                    </a:lnTo>
                    <a:lnTo>
                      <a:pt x="413547" y="562841"/>
                    </a:lnTo>
                    <a:lnTo>
                      <a:pt x="367626" y="568147"/>
                    </a:lnTo>
                    <a:lnTo>
                      <a:pt x="675214" y="568147"/>
                    </a:lnTo>
                    <a:lnTo>
                      <a:pt x="710508" y="500497"/>
                    </a:lnTo>
                    <a:lnTo>
                      <a:pt x="724026" y="458146"/>
                    </a:lnTo>
                    <a:lnTo>
                      <a:pt x="732389" y="413741"/>
                    </a:lnTo>
                    <a:lnTo>
                      <a:pt x="735253" y="367626"/>
                    </a:lnTo>
                    <a:lnTo>
                      <a:pt x="732401" y="321706"/>
                    </a:lnTo>
                    <a:lnTo>
                      <a:pt x="732389" y="321512"/>
                    </a:lnTo>
                    <a:lnTo>
                      <a:pt x="724026" y="277107"/>
                    </a:lnTo>
                    <a:lnTo>
                      <a:pt x="710508" y="234756"/>
                    </a:lnTo>
                    <a:lnTo>
                      <a:pt x="692180" y="194803"/>
                    </a:lnTo>
                    <a:lnTo>
                      <a:pt x="675222" y="167119"/>
                    </a:lnTo>
                    <a:close/>
                  </a:path>
                </a:pathLst>
              </a:custGeom>
              <a:solidFill>
                <a:srgbClr val="221815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</p:grpSp>
        <p:grpSp>
          <p:nvGrpSpPr>
            <p:cNvPr id="37" name="object 48">
              <a:extLst>
                <a:ext uri="{FF2B5EF4-FFF2-40B4-BE49-F238E27FC236}">
                  <a16:creationId xmlns:a16="http://schemas.microsoft.com/office/drawing/2014/main" id="{613266BA-1A60-363B-5CBA-E396E11537EF}"/>
                </a:ext>
              </a:extLst>
            </p:cNvPr>
            <p:cNvGrpSpPr/>
            <p:nvPr/>
          </p:nvGrpSpPr>
          <p:grpSpPr>
            <a:xfrm>
              <a:off x="2799749" y="5389816"/>
              <a:ext cx="705485" cy="148590"/>
              <a:chOff x="2799749" y="5389816"/>
              <a:chExt cx="705485" cy="148590"/>
            </a:xfrm>
          </p:grpSpPr>
          <p:pic>
            <p:nvPicPr>
              <p:cNvPr id="56" name="object 49">
                <a:extLst>
                  <a:ext uri="{FF2B5EF4-FFF2-40B4-BE49-F238E27FC236}">
                    <a16:creationId xmlns:a16="http://schemas.microsoft.com/office/drawing/2014/main" id="{D2B795FF-6788-3559-8AB0-CDE4FB21BEF5}"/>
                  </a:ext>
                </a:extLst>
              </p:cNvPr>
              <p:cNvPicPr/>
              <p:nvPr/>
            </p:nvPicPr>
            <p:blipFill>
              <a:blip r:embed="rId3" cstate="print"/>
              <a:stretch>
                <a:fillRect/>
              </a:stretch>
            </p:blipFill>
            <p:spPr>
              <a:xfrm>
                <a:off x="2799749" y="5389816"/>
                <a:ext cx="130962" cy="148158"/>
              </a:xfrm>
              <a:prstGeom prst="rect">
                <a:avLst/>
              </a:prstGeom>
            </p:spPr>
          </p:pic>
          <p:pic>
            <p:nvPicPr>
              <p:cNvPr id="57" name="object 50">
                <a:extLst>
                  <a:ext uri="{FF2B5EF4-FFF2-40B4-BE49-F238E27FC236}">
                    <a16:creationId xmlns:a16="http://schemas.microsoft.com/office/drawing/2014/main" id="{A37C3872-D909-2AD3-91A0-E6BFDC189479}"/>
                  </a:ext>
                </a:extLst>
              </p:cNvPr>
              <p:cNvPicPr/>
              <p:nvPr/>
            </p:nvPicPr>
            <p:blipFill>
              <a:blip r:embed="rId4" cstate="print"/>
              <a:stretch>
                <a:fillRect/>
              </a:stretch>
            </p:blipFill>
            <p:spPr>
              <a:xfrm>
                <a:off x="2954046" y="5425837"/>
                <a:ext cx="98018" cy="111925"/>
              </a:xfrm>
              <a:prstGeom prst="rect">
                <a:avLst/>
              </a:prstGeom>
            </p:spPr>
          </p:pic>
          <p:sp>
            <p:nvSpPr>
              <p:cNvPr id="58" name="object 51">
                <a:extLst>
                  <a:ext uri="{FF2B5EF4-FFF2-40B4-BE49-F238E27FC236}">
                    <a16:creationId xmlns:a16="http://schemas.microsoft.com/office/drawing/2014/main" id="{2A1BAD36-B8AB-08E7-149B-791DAEA7CB6E}"/>
                  </a:ext>
                </a:extLst>
              </p:cNvPr>
              <p:cNvSpPr/>
              <p:nvPr/>
            </p:nvSpPr>
            <p:spPr>
              <a:xfrm>
                <a:off x="3088694" y="5425004"/>
                <a:ext cx="63500" cy="111125"/>
              </a:xfrm>
              <a:custGeom>
                <a:avLst/>
                <a:gdLst/>
                <a:ahLst/>
                <a:cxnLst/>
                <a:rect l="l" t="t" r="r" b="b"/>
                <a:pathLst>
                  <a:path w="63500" h="111125">
                    <a:moveTo>
                      <a:pt x="53682" y="0"/>
                    </a:moveTo>
                    <a:lnTo>
                      <a:pt x="45770" y="2260"/>
                    </a:lnTo>
                    <a:lnTo>
                      <a:pt x="33223" y="12077"/>
                    </a:lnTo>
                    <a:lnTo>
                      <a:pt x="28384" y="18630"/>
                    </a:lnTo>
                    <a:lnTo>
                      <a:pt x="24968" y="26809"/>
                    </a:lnTo>
                    <a:lnTo>
                      <a:pt x="24968" y="2463"/>
                    </a:lnTo>
                    <a:lnTo>
                      <a:pt x="0" y="2463"/>
                    </a:lnTo>
                    <a:lnTo>
                      <a:pt x="0" y="110515"/>
                    </a:lnTo>
                    <a:lnTo>
                      <a:pt x="24968" y="110515"/>
                    </a:lnTo>
                    <a:lnTo>
                      <a:pt x="24968" y="69380"/>
                    </a:lnTo>
                    <a:lnTo>
                      <a:pt x="24968" y="62293"/>
                    </a:lnTo>
                    <a:lnTo>
                      <a:pt x="51371" y="27495"/>
                    </a:lnTo>
                    <a:lnTo>
                      <a:pt x="56349" y="26619"/>
                    </a:lnTo>
                    <a:lnTo>
                      <a:pt x="63233" y="26619"/>
                    </a:lnTo>
                    <a:lnTo>
                      <a:pt x="63233" y="419"/>
                    </a:lnTo>
                    <a:lnTo>
                      <a:pt x="53682" y="0"/>
                    </a:lnTo>
                    <a:close/>
                  </a:path>
                </a:pathLst>
              </a:custGeom>
              <a:solidFill>
                <a:srgbClr val="221815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pic>
            <p:nvPicPr>
              <p:cNvPr id="59" name="object 52">
                <a:extLst>
                  <a:ext uri="{FF2B5EF4-FFF2-40B4-BE49-F238E27FC236}">
                    <a16:creationId xmlns:a16="http://schemas.microsoft.com/office/drawing/2014/main" id="{7AD20EDB-44FB-4276-FFD7-6069DEF1C511}"/>
                  </a:ext>
                </a:extLst>
              </p:cNvPr>
              <p:cNvPicPr/>
              <p:nvPr/>
            </p:nvPicPr>
            <p:blipFill>
              <a:blip r:embed="rId5" cstate="print"/>
              <a:stretch>
                <a:fillRect/>
              </a:stretch>
            </p:blipFill>
            <p:spPr>
              <a:xfrm>
                <a:off x="3174443" y="5425211"/>
                <a:ext cx="104571" cy="112763"/>
              </a:xfrm>
              <a:prstGeom prst="rect">
                <a:avLst/>
              </a:prstGeom>
            </p:spPr>
          </p:pic>
          <p:pic>
            <p:nvPicPr>
              <p:cNvPr id="60" name="object 53">
                <a:extLst>
                  <a:ext uri="{FF2B5EF4-FFF2-40B4-BE49-F238E27FC236}">
                    <a16:creationId xmlns:a16="http://schemas.microsoft.com/office/drawing/2014/main" id="{B66EE8F5-FA19-EAB1-BED7-32A10FFFA845}"/>
                  </a:ext>
                </a:extLst>
              </p:cNvPr>
              <p:cNvPicPr/>
              <p:nvPr/>
            </p:nvPicPr>
            <p:blipFill>
              <a:blip r:embed="rId5" cstate="print"/>
              <a:stretch>
                <a:fillRect/>
              </a:stretch>
            </p:blipFill>
            <p:spPr>
              <a:xfrm>
                <a:off x="3305204" y="5425211"/>
                <a:ext cx="104571" cy="112763"/>
              </a:xfrm>
              <a:prstGeom prst="rect">
                <a:avLst/>
              </a:prstGeom>
            </p:spPr>
          </p:pic>
          <p:sp>
            <p:nvSpPr>
              <p:cNvPr id="61" name="object 54">
                <a:extLst>
                  <a:ext uri="{FF2B5EF4-FFF2-40B4-BE49-F238E27FC236}">
                    <a16:creationId xmlns:a16="http://schemas.microsoft.com/office/drawing/2014/main" id="{14B1000C-787A-5A9C-B25F-8F90A2C6A5F5}"/>
                  </a:ext>
                </a:extLst>
              </p:cNvPr>
              <p:cNvSpPr/>
              <p:nvPr/>
            </p:nvSpPr>
            <p:spPr>
              <a:xfrm>
                <a:off x="3441909" y="5425011"/>
                <a:ext cx="63500" cy="111125"/>
              </a:xfrm>
              <a:custGeom>
                <a:avLst/>
                <a:gdLst/>
                <a:ahLst/>
                <a:cxnLst/>
                <a:rect l="l" t="t" r="r" b="b"/>
                <a:pathLst>
                  <a:path w="63500" h="111125">
                    <a:moveTo>
                      <a:pt x="53682" y="0"/>
                    </a:moveTo>
                    <a:lnTo>
                      <a:pt x="45758" y="2247"/>
                    </a:lnTo>
                    <a:lnTo>
                      <a:pt x="33223" y="12077"/>
                    </a:lnTo>
                    <a:lnTo>
                      <a:pt x="28371" y="18630"/>
                    </a:lnTo>
                    <a:lnTo>
                      <a:pt x="24968" y="26809"/>
                    </a:lnTo>
                    <a:lnTo>
                      <a:pt x="24968" y="2451"/>
                    </a:lnTo>
                    <a:lnTo>
                      <a:pt x="0" y="2451"/>
                    </a:lnTo>
                    <a:lnTo>
                      <a:pt x="0" y="110502"/>
                    </a:lnTo>
                    <a:lnTo>
                      <a:pt x="24968" y="110502"/>
                    </a:lnTo>
                    <a:lnTo>
                      <a:pt x="24968" y="62280"/>
                    </a:lnTo>
                    <a:lnTo>
                      <a:pt x="25857" y="56045"/>
                    </a:lnTo>
                    <a:lnTo>
                      <a:pt x="51358" y="27495"/>
                    </a:lnTo>
                    <a:lnTo>
                      <a:pt x="56337" y="26606"/>
                    </a:lnTo>
                    <a:lnTo>
                      <a:pt x="63233" y="26606"/>
                    </a:lnTo>
                    <a:lnTo>
                      <a:pt x="63233" y="406"/>
                    </a:lnTo>
                    <a:lnTo>
                      <a:pt x="53682" y="0"/>
                    </a:lnTo>
                    <a:close/>
                  </a:path>
                </a:pathLst>
              </a:custGeom>
              <a:solidFill>
                <a:srgbClr val="221815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</p:grpSp>
        <p:grpSp>
          <p:nvGrpSpPr>
            <p:cNvPr id="38" name="object 55">
              <a:extLst>
                <a:ext uri="{FF2B5EF4-FFF2-40B4-BE49-F238E27FC236}">
                  <a16:creationId xmlns:a16="http://schemas.microsoft.com/office/drawing/2014/main" id="{DD97404E-72F8-7970-D0F0-344293C789EC}"/>
                </a:ext>
              </a:extLst>
            </p:cNvPr>
            <p:cNvGrpSpPr/>
            <p:nvPr/>
          </p:nvGrpSpPr>
          <p:grpSpPr>
            <a:xfrm>
              <a:off x="3598668" y="5386129"/>
              <a:ext cx="1113155" cy="182245"/>
              <a:chOff x="3598668" y="5386129"/>
              <a:chExt cx="1113155" cy="182245"/>
            </a:xfrm>
          </p:grpSpPr>
          <p:pic>
            <p:nvPicPr>
              <p:cNvPr id="48" name="object 56">
                <a:extLst>
                  <a:ext uri="{FF2B5EF4-FFF2-40B4-BE49-F238E27FC236}">
                    <a16:creationId xmlns:a16="http://schemas.microsoft.com/office/drawing/2014/main" id="{402B2ED1-7E2D-F2AC-9A6C-01798C787794}"/>
                  </a:ext>
                </a:extLst>
              </p:cNvPr>
              <p:cNvPicPr/>
              <p:nvPr/>
            </p:nvPicPr>
            <p:blipFill>
              <a:blip r:embed="rId6" cstate="print"/>
              <a:stretch>
                <a:fillRect/>
              </a:stretch>
            </p:blipFill>
            <p:spPr>
              <a:xfrm>
                <a:off x="3598668" y="5389810"/>
                <a:ext cx="149796" cy="148158"/>
              </a:xfrm>
              <a:prstGeom prst="rect">
                <a:avLst/>
              </a:prstGeom>
            </p:spPr>
          </p:pic>
          <p:pic>
            <p:nvPicPr>
              <p:cNvPr id="49" name="object 57">
                <a:extLst>
                  <a:ext uri="{FF2B5EF4-FFF2-40B4-BE49-F238E27FC236}">
                    <a16:creationId xmlns:a16="http://schemas.microsoft.com/office/drawing/2014/main" id="{7F4BB13C-AF5C-213E-8CF0-F1793B204FFF}"/>
                  </a:ext>
                </a:extLst>
              </p:cNvPr>
              <p:cNvPicPr/>
              <p:nvPr/>
            </p:nvPicPr>
            <p:blipFill>
              <a:blip r:embed="rId7" cstate="print"/>
              <a:stretch>
                <a:fillRect/>
              </a:stretch>
            </p:blipFill>
            <p:spPr>
              <a:xfrm>
                <a:off x="3770153" y="5427051"/>
                <a:ext cx="163093" cy="109283"/>
              </a:xfrm>
              <a:prstGeom prst="rect">
                <a:avLst/>
              </a:prstGeom>
            </p:spPr>
          </p:pic>
          <p:pic>
            <p:nvPicPr>
              <p:cNvPr id="50" name="object 58">
                <a:extLst>
                  <a:ext uri="{FF2B5EF4-FFF2-40B4-BE49-F238E27FC236}">
                    <a16:creationId xmlns:a16="http://schemas.microsoft.com/office/drawing/2014/main" id="{380C6109-FC4B-79B5-9535-07CF8FCF432A}"/>
                  </a:ext>
                </a:extLst>
              </p:cNvPr>
              <p:cNvPicPr/>
              <p:nvPr/>
            </p:nvPicPr>
            <p:blipFill>
              <a:blip r:embed="rId8" cstate="print"/>
              <a:stretch>
                <a:fillRect/>
              </a:stretch>
            </p:blipFill>
            <p:spPr>
              <a:xfrm>
                <a:off x="3958411" y="5425217"/>
                <a:ext cx="97002" cy="110299"/>
              </a:xfrm>
              <a:prstGeom prst="rect">
                <a:avLst/>
              </a:prstGeom>
            </p:spPr>
          </p:pic>
          <p:pic>
            <p:nvPicPr>
              <p:cNvPr id="51" name="object 59">
                <a:extLst>
                  <a:ext uri="{FF2B5EF4-FFF2-40B4-BE49-F238E27FC236}">
                    <a16:creationId xmlns:a16="http://schemas.microsoft.com/office/drawing/2014/main" id="{1006A05A-F30A-0437-6CA7-2AAE7FDFC0F9}"/>
                  </a:ext>
                </a:extLst>
              </p:cNvPr>
              <p:cNvPicPr/>
              <p:nvPr/>
            </p:nvPicPr>
            <p:blipFill>
              <a:blip r:embed="rId9" cstate="print"/>
              <a:stretch>
                <a:fillRect/>
              </a:stretch>
            </p:blipFill>
            <p:spPr>
              <a:xfrm>
                <a:off x="4082436" y="5425212"/>
                <a:ext cx="104559" cy="112763"/>
              </a:xfrm>
              <a:prstGeom prst="rect">
                <a:avLst/>
              </a:prstGeom>
            </p:spPr>
          </p:pic>
          <p:pic>
            <p:nvPicPr>
              <p:cNvPr id="52" name="object 60">
                <a:extLst>
                  <a:ext uri="{FF2B5EF4-FFF2-40B4-BE49-F238E27FC236}">
                    <a16:creationId xmlns:a16="http://schemas.microsoft.com/office/drawing/2014/main" id="{E91CCFCD-34DB-3748-9DC0-4EB6C28276EF}"/>
                  </a:ext>
                </a:extLst>
              </p:cNvPr>
              <p:cNvPicPr/>
              <p:nvPr/>
            </p:nvPicPr>
            <p:blipFill>
              <a:blip r:embed="rId10" cstate="print"/>
              <a:stretch>
                <a:fillRect/>
              </a:stretch>
            </p:blipFill>
            <p:spPr>
              <a:xfrm>
                <a:off x="4215032" y="5425004"/>
                <a:ext cx="164739" cy="112561"/>
              </a:xfrm>
              <a:prstGeom prst="rect">
                <a:avLst/>
              </a:prstGeom>
            </p:spPr>
          </p:pic>
          <p:pic>
            <p:nvPicPr>
              <p:cNvPr id="53" name="object 61">
                <a:extLst>
                  <a:ext uri="{FF2B5EF4-FFF2-40B4-BE49-F238E27FC236}">
                    <a16:creationId xmlns:a16="http://schemas.microsoft.com/office/drawing/2014/main" id="{5E54CF21-5087-8EA7-C27F-7C8D1B3B362E}"/>
                  </a:ext>
                </a:extLst>
              </p:cNvPr>
              <p:cNvPicPr/>
              <p:nvPr/>
            </p:nvPicPr>
            <p:blipFill>
              <a:blip r:embed="rId11" cstate="print"/>
              <a:stretch>
                <a:fillRect/>
              </a:stretch>
            </p:blipFill>
            <p:spPr>
              <a:xfrm>
                <a:off x="4408001" y="5386129"/>
                <a:ext cx="97002" cy="149390"/>
              </a:xfrm>
              <a:prstGeom prst="rect">
                <a:avLst/>
              </a:prstGeom>
            </p:spPr>
          </p:pic>
          <p:sp>
            <p:nvSpPr>
              <p:cNvPr id="54" name="object 62">
                <a:extLst>
                  <a:ext uri="{FF2B5EF4-FFF2-40B4-BE49-F238E27FC236}">
                    <a16:creationId xmlns:a16="http://schemas.microsoft.com/office/drawing/2014/main" id="{097FF4CC-03ED-16BB-ED70-3B7D9919FBF9}"/>
                  </a:ext>
                </a:extLst>
              </p:cNvPr>
              <p:cNvSpPr/>
              <p:nvPr/>
            </p:nvSpPr>
            <p:spPr>
              <a:xfrm>
                <a:off x="4538370" y="5387365"/>
                <a:ext cx="27305" cy="148590"/>
              </a:xfrm>
              <a:custGeom>
                <a:avLst/>
                <a:gdLst/>
                <a:ahLst/>
                <a:cxnLst/>
                <a:rect l="l" t="t" r="r" b="b"/>
                <a:pathLst>
                  <a:path w="27304" h="148589">
                    <a:moveTo>
                      <a:pt x="25984" y="40106"/>
                    </a:moveTo>
                    <a:lnTo>
                      <a:pt x="1016" y="40106"/>
                    </a:lnTo>
                    <a:lnTo>
                      <a:pt x="1016" y="148158"/>
                    </a:lnTo>
                    <a:lnTo>
                      <a:pt x="25984" y="148158"/>
                    </a:lnTo>
                    <a:lnTo>
                      <a:pt x="25984" y="40106"/>
                    </a:lnTo>
                    <a:close/>
                  </a:path>
                  <a:path w="27304" h="148589">
                    <a:moveTo>
                      <a:pt x="26797" y="0"/>
                    </a:moveTo>
                    <a:lnTo>
                      <a:pt x="0" y="0"/>
                    </a:lnTo>
                    <a:lnTo>
                      <a:pt x="0" y="23533"/>
                    </a:lnTo>
                    <a:lnTo>
                      <a:pt x="26797" y="23533"/>
                    </a:lnTo>
                    <a:lnTo>
                      <a:pt x="26797" y="0"/>
                    </a:lnTo>
                    <a:close/>
                  </a:path>
                </a:pathLst>
              </a:custGeom>
              <a:solidFill>
                <a:srgbClr val="221815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pic>
            <p:nvPicPr>
              <p:cNvPr id="55" name="object 63">
                <a:extLst>
                  <a:ext uri="{FF2B5EF4-FFF2-40B4-BE49-F238E27FC236}">
                    <a16:creationId xmlns:a16="http://schemas.microsoft.com/office/drawing/2014/main" id="{E945F2C1-7437-DE17-4852-ED36E0EEFABE}"/>
                  </a:ext>
                </a:extLst>
              </p:cNvPr>
              <p:cNvPicPr/>
              <p:nvPr/>
            </p:nvPicPr>
            <p:blipFill>
              <a:blip r:embed="rId12" cstate="print"/>
              <a:stretch>
                <a:fillRect/>
              </a:stretch>
            </p:blipFill>
            <p:spPr>
              <a:xfrm>
                <a:off x="4599562" y="5425219"/>
                <a:ext cx="111721" cy="143040"/>
              </a:xfrm>
              <a:prstGeom prst="rect">
                <a:avLst/>
              </a:prstGeom>
            </p:spPr>
          </p:pic>
        </p:grpSp>
        <p:pic>
          <p:nvPicPr>
            <p:cNvPr id="39" name="object 64">
              <a:extLst>
                <a:ext uri="{FF2B5EF4-FFF2-40B4-BE49-F238E27FC236}">
                  <a16:creationId xmlns:a16="http://schemas.microsoft.com/office/drawing/2014/main" id="{13FD610E-CDCD-9B96-0195-4CA07BCA4FDE}"/>
                </a:ext>
              </a:extLst>
            </p:cNvPr>
            <p:cNvPicPr/>
            <p:nvPr/>
          </p:nvPicPr>
          <p:blipFill>
            <a:blip r:embed="rId13" cstate="print"/>
            <a:stretch>
              <a:fillRect/>
            </a:stretch>
          </p:blipFill>
          <p:spPr>
            <a:xfrm>
              <a:off x="2806094" y="5632719"/>
              <a:ext cx="1334244" cy="176400"/>
            </a:xfrm>
            <a:prstGeom prst="rect">
              <a:avLst/>
            </a:prstGeom>
          </p:spPr>
        </p:pic>
        <p:grpSp>
          <p:nvGrpSpPr>
            <p:cNvPr id="40" name="object 65">
              <a:extLst>
                <a:ext uri="{FF2B5EF4-FFF2-40B4-BE49-F238E27FC236}">
                  <a16:creationId xmlns:a16="http://schemas.microsoft.com/office/drawing/2014/main" id="{B47BCC22-4412-51BA-AC00-37A4342A67E6}"/>
                </a:ext>
              </a:extLst>
            </p:cNvPr>
            <p:cNvGrpSpPr/>
            <p:nvPr/>
          </p:nvGrpSpPr>
          <p:grpSpPr>
            <a:xfrm>
              <a:off x="4223223" y="5626578"/>
              <a:ext cx="670560" cy="151765"/>
              <a:chOff x="4223223" y="5626578"/>
              <a:chExt cx="670560" cy="151765"/>
            </a:xfrm>
          </p:grpSpPr>
          <p:pic>
            <p:nvPicPr>
              <p:cNvPr id="46" name="object 66">
                <a:extLst>
                  <a:ext uri="{FF2B5EF4-FFF2-40B4-BE49-F238E27FC236}">
                    <a16:creationId xmlns:a16="http://schemas.microsoft.com/office/drawing/2014/main" id="{085FC097-43C2-3B1B-38B2-123576CC6AAD}"/>
                  </a:ext>
                </a:extLst>
              </p:cNvPr>
              <p:cNvPicPr/>
              <p:nvPr/>
            </p:nvPicPr>
            <p:blipFill>
              <a:blip r:embed="rId14" cstate="print"/>
              <a:stretch>
                <a:fillRect/>
              </a:stretch>
            </p:blipFill>
            <p:spPr>
              <a:xfrm>
                <a:off x="4223223" y="5631704"/>
                <a:ext cx="444056" cy="146517"/>
              </a:xfrm>
              <a:prstGeom prst="rect">
                <a:avLst/>
              </a:prstGeom>
            </p:spPr>
          </p:pic>
          <p:pic>
            <p:nvPicPr>
              <p:cNvPr id="47" name="object 67">
                <a:extLst>
                  <a:ext uri="{FF2B5EF4-FFF2-40B4-BE49-F238E27FC236}">
                    <a16:creationId xmlns:a16="http://schemas.microsoft.com/office/drawing/2014/main" id="{D3F24080-0145-48E0-D2D2-A3ABB6A366D7}"/>
                  </a:ext>
                </a:extLst>
              </p:cNvPr>
              <p:cNvPicPr/>
              <p:nvPr/>
            </p:nvPicPr>
            <p:blipFill>
              <a:blip r:embed="rId15" cstate="print"/>
              <a:stretch>
                <a:fillRect/>
              </a:stretch>
            </p:blipFill>
            <p:spPr>
              <a:xfrm>
                <a:off x="4699816" y="5626578"/>
                <a:ext cx="193794" cy="151637"/>
              </a:xfrm>
              <a:prstGeom prst="rect">
                <a:avLst/>
              </a:prstGeom>
            </p:spPr>
          </p:pic>
        </p:grpSp>
        <p:pic>
          <p:nvPicPr>
            <p:cNvPr id="41" name="object 68">
              <a:extLst>
                <a:ext uri="{FF2B5EF4-FFF2-40B4-BE49-F238E27FC236}">
                  <a16:creationId xmlns:a16="http://schemas.microsoft.com/office/drawing/2014/main" id="{24A5EF0E-2812-13CA-31F1-E5756A3F97FB}"/>
                </a:ext>
              </a:extLst>
            </p:cNvPr>
            <p:cNvPicPr/>
            <p:nvPr/>
          </p:nvPicPr>
          <p:blipFill>
            <a:blip r:embed="rId16" cstate="print"/>
            <a:stretch>
              <a:fillRect/>
            </a:stretch>
          </p:blipFill>
          <p:spPr>
            <a:xfrm>
              <a:off x="1879156" y="5498016"/>
              <a:ext cx="131203" cy="197561"/>
            </a:xfrm>
            <a:prstGeom prst="rect">
              <a:avLst/>
            </a:prstGeom>
          </p:spPr>
        </p:pic>
        <p:grpSp>
          <p:nvGrpSpPr>
            <p:cNvPr id="42" name="object 69">
              <a:extLst>
                <a:ext uri="{FF2B5EF4-FFF2-40B4-BE49-F238E27FC236}">
                  <a16:creationId xmlns:a16="http://schemas.microsoft.com/office/drawing/2014/main" id="{E5C2503D-7D89-BE38-1B33-A2DFB73A531F}"/>
                </a:ext>
              </a:extLst>
            </p:cNvPr>
            <p:cNvGrpSpPr/>
            <p:nvPr/>
          </p:nvGrpSpPr>
          <p:grpSpPr>
            <a:xfrm>
              <a:off x="2057979" y="5498016"/>
              <a:ext cx="368300" cy="200660"/>
              <a:chOff x="2057979" y="5498016"/>
              <a:chExt cx="368300" cy="200660"/>
            </a:xfrm>
          </p:grpSpPr>
          <p:pic>
            <p:nvPicPr>
              <p:cNvPr id="44" name="object 70">
                <a:extLst>
                  <a:ext uri="{FF2B5EF4-FFF2-40B4-BE49-F238E27FC236}">
                    <a16:creationId xmlns:a16="http://schemas.microsoft.com/office/drawing/2014/main" id="{62B4F46A-2E76-EADF-5CCF-5E50670D906B}"/>
                  </a:ext>
                </a:extLst>
              </p:cNvPr>
              <p:cNvPicPr/>
              <p:nvPr/>
            </p:nvPicPr>
            <p:blipFill>
              <a:blip r:embed="rId17" cstate="print"/>
              <a:stretch>
                <a:fillRect/>
              </a:stretch>
            </p:blipFill>
            <p:spPr>
              <a:xfrm>
                <a:off x="2057979" y="5499087"/>
                <a:ext cx="199440" cy="199453"/>
              </a:xfrm>
              <a:prstGeom prst="rect">
                <a:avLst/>
              </a:prstGeom>
            </p:spPr>
          </p:pic>
          <p:pic>
            <p:nvPicPr>
              <p:cNvPr id="45" name="object 71">
                <a:extLst>
                  <a:ext uri="{FF2B5EF4-FFF2-40B4-BE49-F238E27FC236}">
                    <a16:creationId xmlns:a16="http://schemas.microsoft.com/office/drawing/2014/main" id="{D685DF5B-9472-D8CB-BA5D-07DDD6E00FA3}"/>
                  </a:ext>
                </a:extLst>
              </p:cNvPr>
              <p:cNvPicPr/>
              <p:nvPr/>
            </p:nvPicPr>
            <p:blipFill>
              <a:blip r:embed="rId18" cstate="print"/>
              <a:stretch>
                <a:fillRect/>
              </a:stretch>
            </p:blipFill>
            <p:spPr>
              <a:xfrm>
                <a:off x="2294486" y="5498016"/>
                <a:ext cx="131203" cy="197561"/>
              </a:xfrm>
              <a:prstGeom prst="rect">
                <a:avLst/>
              </a:prstGeom>
            </p:spPr>
          </p:pic>
        </p:grpSp>
        <p:pic>
          <p:nvPicPr>
            <p:cNvPr id="43" name="object 72">
              <a:extLst>
                <a:ext uri="{FF2B5EF4-FFF2-40B4-BE49-F238E27FC236}">
                  <a16:creationId xmlns:a16="http://schemas.microsoft.com/office/drawing/2014/main" id="{7B005009-811A-B2BC-4FBB-1106D55BD151}"/>
                </a:ext>
              </a:extLst>
            </p:cNvPr>
            <p:cNvPicPr/>
            <p:nvPr/>
          </p:nvPicPr>
          <p:blipFill>
            <a:blip r:embed="rId19" cstate="print"/>
            <a:stretch>
              <a:fillRect/>
            </a:stretch>
          </p:blipFill>
          <p:spPr>
            <a:xfrm>
              <a:off x="2481940" y="5501791"/>
              <a:ext cx="132651" cy="1966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30258281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A5687A02-24F6-8003-5A05-E80B464AFA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コンテンツ プレースホルダー 2">
            <a:extLst>
              <a:ext uri="{FF2B5EF4-FFF2-40B4-BE49-F238E27FC236}">
                <a16:creationId xmlns:a16="http://schemas.microsoft.com/office/drawing/2014/main" id="{1A50180E-00A9-E5BC-9FB8-F6259D94AEE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日付プレースホルダー 3">
            <a:extLst>
              <a:ext uri="{FF2B5EF4-FFF2-40B4-BE49-F238E27FC236}">
                <a16:creationId xmlns:a16="http://schemas.microsoft.com/office/drawing/2014/main" id="{C7EBC82D-EE3E-068A-A30C-F1802A7099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BF142E-C2E9-4D2A-B479-4545C056675E}" type="datetimeFigureOut">
              <a:rPr kumimoji="1" lang="ja-JP" altLang="en-US" smtClean="0"/>
              <a:t>2024/12/5</a:t>
            </a:fld>
            <a:endParaRPr kumimoji="1" lang="ja-JP" altLang="en-US"/>
          </a:p>
        </p:txBody>
      </p:sp>
      <p:sp>
        <p:nvSpPr>
          <p:cNvPr id="5" name="フッター プレースホルダー 4">
            <a:extLst>
              <a:ext uri="{FF2B5EF4-FFF2-40B4-BE49-F238E27FC236}">
                <a16:creationId xmlns:a16="http://schemas.microsoft.com/office/drawing/2014/main" id="{15689D4D-8F96-524A-5E33-11DAFDF0F66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>
            <a:extLst>
              <a:ext uri="{FF2B5EF4-FFF2-40B4-BE49-F238E27FC236}">
                <a16:creationId xmlns:a16="http://schemas.microsoft.com/office/drawing/2014/main" id="{FA0B1932-A664-9EFD-DE81-F994FC1A98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501BD3-1EF5-439B-B749-E2ADDBEF0C0B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67506658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BAC94272-5FC5-FCB9-F761-0DF664BBA8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9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テキスト プレースホルダー 2">
            <a:extLst>
              <a:ext uri="{FF2B5EF4-FFF2-40B4-BE49-F238E27FC236}">
                <a16:creationId xmlns:a16="http://schemas.microsoft.com/office/drawing/2014/main" id="{2B6CACE7-5293-9C5A-3143-045C514E5C4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4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1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2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3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4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5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6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7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4" name="日付プレースホルダー 3">
            <a:extLst>
              <a:ext uri="{FF2B5EF4-FFF2-40B4-BE49-F238E27FC236}">
                <a16:creationId xmlns:a16="http://schemas.microsoft.com/office/drawing/2014/main" id="{090EF6E2-CFB7-7428-53CC-B2A7FE2FD45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BF142E-C2E9-4D2A-B479-4545C056675E}" type="datetimeFigureOut">
              <a:rPr kumimoji="1" lang="ja-JP" altLang="en-US" smtClean="0"/>
              <a:t>2024/12/5</a:t>
            </a:fld>
            <a:endParaRPr kumimoji="1" lang="ja-JP" altLang="en-US"/>
          </a:p>
        </p:txBody>
      </p:sp>
      <p:sp>
        <p:nvSpPr>
          <p:cNvPr id="5" name="フッター プレースホルダー 4">
            <a:extLst>
              <a:ext uri="{FF2B5EF4-FFF2-40B4-BE49-F238E27FC236}">
                <a16:creationId xmlns:a16="http://schemas.microsoft.com/office/drawing/2014/main" id="{0E3CBEA5-D45E-60B3-D7EA-E8666483A9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>
            <a:extLst>
              <a:ext uri="{FF2B5EF4-FFF2-40B4-BE49-F238E27FC236}">
                <a16:creationId xmlns:a16="http://schemas.microsoft.com/office/drawing/2014/main" id="{E9825982-B094-F2F9-5209-A3B647CB3C7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501BD3-1EF5-439B-B749-E2ADDBEF0C0B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90961932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つ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51B15369-A8C1-7EEE-0972-1C005DC3F1D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コンテンツ プレースホルダー 2">
            <a:extLst>
              <a:ext uri="{FF2B5EF4-FFF2-40B4-BE49-F238E27FC236}">
                <a16:creationId xmlns:a16="http://schemas.microsoft.com/office/drawing/2014/main" id="{A12B7EEF-BD1E-C876-EB73-3DB7E49E995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コンテンツ プレースホルダー 3">
            <a:extLst>
              <a:ext uri="{FF2B5EF4-FFF2-40B4-BE49-F238E27FC236}">
                <a16:creationId xmlns:a16="http://schemas.microsoft.com/office/drawing/2014/main" id="{337F3239-6C3B-ADB5-383C-B6C305C8F2C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5" name="日付プレースホルダー 4">
            <a:extLst>
              <a:ext uri="{FF2B5EF4-FFF2-40B4-BE49-F238E27FC236}">
                <a16:creationId xmlns:a16="http://schemas.microsoft.com/office/drawing/2014/main" id="{98440648-B9BE-7329-5107-74C7921FD1B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BF142E-C2E9-4D2A-B479-4545C056675E}" type="datetimeFigureOut">
              <a:rPr kumimoji="1" lang="ja-JP" altLang="en-US" smtClean="0"/>
              <a:t>2024/12/5</a:t>
            </a:fld>
            <a:endParaRPr kumimoji="1" lang="ja-JP" altLang="en-US"/>
          </a:p>
        </p:txBody>
      </p:sp>
      <p:sp>
        <p:nvSpPr>
          <p:cNvPr id="6" name="フッター プレースホルダー 5">
            <a:extLst>
              <a:ext uri="{FF2B5EF4-FFF2-40B4-BE49-F238E27FC236}">
                <a16:creationId xmlns:a16="http://schemas.microsoft.com/office/drawing/2014/main" id="{32EB6152-B5D5-75CF-0B1C-47F276BEE5F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スライド番号プレースホルダー 6">
            <a:extLst>
              <a:ext uri="{FF2B5EF4-FFF2-40B4-BE49-F238E27FC236}">
                <a16:creationId xmlns:a16="http://schemas.microsoft.com/office/drawing/2014/main" id="{FCDE81E0-E3F9-5D56-4FF2-D566FF96B3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501BD3-1EF5-439B-B749-E2ADDBEF0C0B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98838617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6CEE5EED-4F83-DA3D-C860-2A5A5F775B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6"/>
            <a:ext cx="10515600" cy="1325563"/>
          </a:xfrm>
        </p:spPr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テキスト プレースホルダー 2">
            <a:extLst>
              <a:ext uri="{FF2B5EF4-FFF2-40B4-BE49-F238E27FC236}">
                <a16:creationId xmlns:a16="http://schemas.microsoft.com/office/drawing/2014/main" id="{FBEE456F-D806-687A-1044-84A29AA31C6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9" indent="0">
              <a:buNone/>
              <a:defRPr sz="2000" b="1"/>
            </a:lvl2pPr>
            <a:lvl3pPr marL="914418" indent="0">
              <a:buNone/>
              <a:defRPr sz="1800" b="1"/>
            </a:lvl3pPr>
            <a:lvl4pPr marL="1371627" indent="0">
              <a:buNone/>
              <a:defRPr sz="1600" b="1"/>
            </a:lvl4pPr>
            <a:lvl5pPr marL="1828837" indent="0">
              <a:buNone/>
              <a:defRPr sz="1600" b="1"/>
            </a:lvl5pPr>
            <a:lvl6pPr marL="2286046" indent="0">
              <a:buNone/>
              <a:defRPr sz="1600" b="1"/>
            </a:lvl6pPr>
            <a:lvl7pPr marL="2743255" indent="0">
              <a:buNone/>
              <a:defRPr sz="1600" b="1"/>
            </a:lvl7pPr>
            <a:lvl8pPr marL="3200464" indent="0">
              <a:buNone/>
              <a:defRPr sz="1600" b="1"/>
            </a:lvl8pPr>
            <a:lvl9pPr marL="3657673" indent="0">
              <a:buNone/>
              <a:defRPr sz="1600" b="1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4" name="コンテンツ プレースホルダー 3">
            <a:extLst>
              <a:ext uri="{FF2B5EF4-FFF2-40B4-BE49-F238E27FC236}">
                <a16:creationId xmlns:a16="http://schemas.microsoft.com/office/drawing/2014/main" id="{146428C1-EBEA-0C41-D347-F94C953BD2A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5" name="テキスト プレースホルダー 4">
            <a:extLst>
              <a:ext uri="{FF2B5EF4-FFF2-40B4-BE49-F238E27FC236}">
                <a16:creationId xmlns:a16="http://schemas.microsoft.com/office/drawing/2014/main" id="{672012BE-E593-DDDF-7539-2DA6E2EC04F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9" indent="0">
              <a:buNone/>
              <a:defRPr sz="2000" b="1"/>
            </a:lvl2pPr>
            <a:lvl3pPr marL="914418" indent="0">
              <a:buNone/>
              <a:defRPr sz="1800" b="1"/>
            </a:lvl3pPr>
            <a:lvl4pPr marL="1371627" indent="0">
              <a:buNone/>
              <a:defRPr sz="1600" b="1"/>
            </a:lvl4pPr>
            <a:lvl5pPr marL="1828837" indent="0">
              <a:buNone/>
              <a:defRPr sz="1600" b="1"/>
            </a:lvl5pPr>
            <a:lvl6pPr marL="2286046" indent="0">
              <a:buNone/>
              <a:defRPr sz="1600" b="1"/>
            </a:lvl6pPr>
            <a:lvl7pPr marL="2743255" indent="0">
              <a:buNone/>
              <a:defRPr sz="1600" b="1"/>
            </a:lvl7pPr>
            <a:lvl8pPr marL="3200464" indent="0">
              <a:buNone/>
              <a:defRPr sz="1600" b="1"/>
            </a:lvl8pPr>
            <a:lvl9pPr marL="3657673" indent="0">
              <a:buNone/>
              <a:defRPr sz="1600" b="1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6" name="コンテンツ プレースホルダー 5">
            <a:extLst>
              <a:ext uri="{FF2B5EF4-FFF2-40B4-BE49-F238E27FC236}">
                <a16:creationId xmlns:a16="http://schemas.microsoft.com/office/drawing/2014/main" id="{97EF3BD0-E3CC-607E-7B5E-66B265840106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7" name="日付プレースホルダー 6">
            <a:extLst>
              <a:ext uri="{FF2B5EF4-FFF2-40B4-BE49-F238E27FC236}">
                <a16:creationId xmlns:a16="http://schemas.microsoft.com/office/drawing/2014/main" id="{17AB7044-28D6-9852-DD56-0F340DF040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BF142E-C2E9-4D2A-B479-4545C056675E}" type="datetimeFigureOut">
              <a:rPr kumimoji="1" lang="ja-JP" altLang="en-US" smtClean="0"/>
              <a:t>2024/12/5</a:t>
            </a:fld>
            <a:endParaRPr kumimoji="1" lang="ja-JP" altLang="en-US"/>
          </a:p>
        </p:txBody>
      </p:sp>
      <p:sp>
        <p:nvSpPr>
          <p:cNvPr id="8" name="フッター プレースホルダー 7">
            <a:extLst>
              <a:ext uri="{FF2B5EF4-FFF2-40B4-BE49-F238E27FC236}">
                <a16:creationId xmlns:a16="http://schemas.microsoft.com/office/drawing/2014/main" id="{5BBBB3F0-B95B-B49D-901F-D26EFDC3588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9" name="スライド番号プレースホルダー 8">
            <a:extLst>
              <a:ext uri="{FF2B5EF4-FFF2-40B4-BE49-F238E27FC236}">
                <a16:creationId xmlns:a16="http://schemas.microsoft.com/office/drawing/2014/main" id="{1C73C70A-7FEE-1D60-58D0-418EE2D3F4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501BD3-1EF5-439B-B749-E2ADDBEF0C0B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38409752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DF411A53-2BEE-7340-BD74-F7DF9D892B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日付プレースホルダー 2">
            <a:extLst>
              <a:ext uri="{FF2B5EF4-FFF2-40B4-BE49-F238E27FC236}">
                <a16:creationId xmlns:a16="http://schemas.microsoft.com/office/drawing/2014/main" id="{E07EB0B0-7B55-C5B3-E78A-A47B8D44C2F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BF142E-C2E9-4D2A-B479-4545C056675E}" type="datetimeFigureOut">
              <a:rPr kumimoji="1" lang="ja-JP" altLang="en-US" smtClean="0"/>
              <a:t>2024/12/5</a:t>
            </a:fld>
            <a:endParaRPr kumimoji="1" lang="ja-JP" altLang="en-US"/>
          </a:p>
        </p:txBody>
      </p:sp>
      <p:sp>
        <p:nvSpPr>
          <p:cNvPr id="4" name="フッター プレースホルダー 3">
            <a:extLst>
              <a:ext uri="{FF2B5EF4-FFF2-40B4-BE49-F238E27FC236}">
                <a16:creationId xmlns:a16="http://schemas.microsoft.com/office/drawing/2014/main" id="{7D07CDF4-1A01-C068-B7C2-4E0FAC0AA62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5" name="スライド番号プレースホルダー 4">
            <a:extLst>
              <a:ext uri="{FF2B5EF4-FFF2-40B4-BE49-F238E27FC236}">
                <a16:creationId xmlns:a16="http://schemas.microsoft.com/office/drawing/2014/main" id="{01C60600-A408-E971-90D6-2C3BC00109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501BD3-1EF5-439B-B749-E2ADDBEF0C0B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92010393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付プレースホルダー 1">
            <a:extLst>
              <a:ext uri="{FF2B5EF4-FFF2-40B4-BE49-F238E27FC236}">
                <a16:creationId xmlns:a16="http://schemas.microsoft.com/office/drawing/2014/main" id="{E64194BE-AFD5-ED31-B5E9-9F933841A22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BF142E-C2E9-4D2A-B479-4545C056675E}" type="datetimeFigureOut">
              <a:rPr kumimoji="1" lang="ja-JP" altLang="en-US" smtClean="0"/>
              <a:t>2024/12/5</a:t>
            </a:fld>
            <a:endParaRPr kumimoji="1" lang="ja-JP" altLang="en-US"/>
          </a:p>
        </p:txBody>
      </p:sp>
      <p:sp>
        <p:nvSpPr>
          <p:cNvPr id="3" name="フッター プレースホルダー 2">
            <a:extLst>
              <a:ext uri="{FF2B5EF4-FFF2-40B4-BE49-F238E27FC236}">
                <a16:creationId xmlns:a16="http://schemas.microsoft.com/office/drawing/2014/main" id="{ACD18C6E-EB91-2179-843B-133D670D24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スライド番号プレースホルダー 3">
            <a:extLst>
              <a:ext uri="{FF2B5EF4-FFF2-40B4-BE49-F238E27FC236}">
                <a16:creationId xmlns:a16="http://schemas.microsoft.com/office/drawing/2014/main" id="{D0C25A01-0461-77EE-22B6-8C420D7B3C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501BD3-1EF5-439B-B749-E2ADDBEF0C0B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28510990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タイトル付き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D264752E-2228-B195-D5C7-BE6E4AD9B1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90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コンテンツ プレースホルダー 2">
            <a:extLst>
              <a:ext uri="{FF2B5EF4-FFF2-40B4-BE49-F238E27FC236}">
                <a16:creationId xmlns:a16="http://schemas.microsoft.com/office/drawing/2014/main" id="{58E9DC3C-298F-E1FE-5519-C80008C5F22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7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テキスト プレースホルダー 3">
            <a:extLst>
              <a:ext uri="{FF2B5EF4-FFF2-40B4-BE49-F238E27FC236}">
                <a16:creationId xmlns:a16="http://schemas.microsoft.com/office/drawing/2014/main" id="{547D32E8-EEE9-C25F-E407-5285F17B388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90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9" indent="0">
              <a:buNone/>
              <a:defRPr sz="1400"/>
            </a:lvl2pPr>
            <a:lvl3pPr marL="914418" indent="0">
              <a:buNone/>
              <a:defRPr sz="1200"/>
            </a:lvl3pPr>
            <a:lvl4pPr marL="1371627" indent="0">
              <a:buNone/>
              <a:defRPr sz="1000"/>
            </a:lvl4pPr>
            <a:lvl5pPr marL="1828837" indent="0">
              <a:buNone/>
              <a:defRPr sz="1000"/>
            </a:lvl5pPr>
            <a:lvl6pPr marL="2286046" indent="0">
              <a:buNone/>
              <a:defRPr sz="1000"/>
            </a:lvl6pPr>
            <a:lvl7pPr marL="2743255" indent="0">
              <a:buNone/>
              <a:defRPr sz="1000"/>
            </a:lvl7pPr>
            <a:lvl8pPr marL="3200464" indent="0">
              <a:buNone/>
              <a:defRPr sz="1000"/>
            </a:lvl8pPr>
            <a:lvl9pPr marL="3657673" indent="0">
              <a:buNone/>
              <a:defRPr sz="1000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5" name="日付プレースホルダー 4">
            <a:extLst>
              <a:ext uri="{FF2B5EF4-FFF2-40B4-BE49-F238E27FC236}">
                <a16:creationId xmlns:a16="http://schemas.microsoft.com/office/drawing/2014/main" id="{D9A7E02F-A90D-7F75-AFDC-995638B0A5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BF142E-C2E9-4D2A-B479-4545C056675E}" type="datetimeFigureOut">
              <a:rPr kumimoji="1" lang="ja-JP" altLang="en-US" smtClean="0"/>
              <a:t>2024/12/5</a:t>
            </a:fld>
            <a:endParaRPr kumimoji="1" lang="ja-JP" altLang="en-US"/>
          </a:p>
        </p:txBody>
      </p:sp>
      <p:sp>
        <p:nvSpPr>
          <p:cNvPr id="6" name="フッター プレースホルダー 5">
            <a:extLst>
              <a:ext uri="{FF2B5EF4-FFF2-40B4-BE49-F238E27FC236}">
                <a16:creationId xmlns:a16="http://schemas.microsoft.com/office/drawing/2014/main" id="{E41BF3CA-077E-F4CF-8D17-E8D1D38D68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スライド番号プレースホルダー 6">
            <a:extLst>
              <a:ext uri="{FF2B5EF4-FFF2-40B4-BE49-F238E27FC236}">
                <a16:creationId xmlns:a16="http://schemas.microsoft.com/office/drawing/2014/main" id="{547E4EB7-8C25-96C9-16A1-8F5EBB7B64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501BD3-1EF5-439B-B749-E2ADDBEF0C0B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64922641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タイトル付きの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97831983-8784-AECD-431D-16C482F239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90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図プレースホルダー 2">
            <a:extLst>
              <a:ext uri="{FF2B5EF4-FFF2-40B4-BE49-F238E27FC236}">
                <a16:creationId xmlns:a16="http://schemas.microsoft.com/office/drawing/2014/main" id="{856D1C9F-60C4-23F1-7243-1B4DC0BFF19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7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9" indent="0">
              <a:buNone/>
              <a:defRPr sz="2800"/>
            </a:lvl2pPr>
            <a:lvl3pPr marL="914418" indent="0">
              <a:buNone/>
              <a:defRPr sz="2400"/>
            </a:lvl3pPr>
            <a:lvl4pPr marL="1371627" indent="0">
              <a:buNone/>
              <a:defRPr sz="2000"/>
            </a:lvl4pPr>
            <a:lvl5pPr marL="1828837" indent="0">
              <a:buNone/>
              <a:defRPr sz="2000"/>
            </a:lvl5pPr>
            <a:lvl6pPr marL="2286046" indent="0">
              <a:buNone/>
              <a:defRPr sz="2000"/>
            </a:lvl6pPr>
            <a:lvl7pPr marL="2743255" indent="0">
              <a:buNone/>
              <a:defRPr sz="2000"/>
            </a:lvl7pPr>
            <a:lvl8pPr marL="3200464" indent="0">
              <a:buNone/>
              <a:defRPr sz="2000"/>
            </a:lvl8pPr>
            <a:lvl9pPr marL="3657673" indent="0">
              <a:buNone/>
              <a:defRPr sz="2000"/>
            </a:lvl9pPr>
          </a:lstStyle>
          <a:p>
            <a:endParaRPr kumimoji="1" lang="ja-JP" altLang="en-US"/>
          </a:p>
        </p:txBody>
      </p:sp>
      <p:sp>
        <p:nvSpPr>
          <p:cNvPr id="4" name="テキスト プレースホルダー 3">
            <a:extLst>
              <a:ext uri="{FF2B5EF4-FFF2-40B4-BE49-F238E27FC236}">
                <a16:creationId xmlns:a16="http://schemas.microsoft.com/office/drawing/2014/main" id="{859416D7-20EF-290E-511E-F94E09D448E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90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9" indent="0">
              <a:buNone/>
              <a:defRPr sz="1400"/>
            </a:lvl2pPr>
            <a:lvl3pPr marL="914418" indent="0">
              <a:buNone/>
              <a:defRPr sz="1200"/>
            </a:lvl3pPr>
            <a:lvl4pPr marL="1371627" indent="0">
              <a:buNone/>
              <a:defRPr sz="1000"/>
            </a:lvl4pPr>
            <a:lvl5pPr marL="1828837" indent="0">
              <a:buNone/>
              <a:defRPr sz="1000"/>
            </a:lvl5pPr>
            <a:lvl6pPr marL="2286046" indent="0">
              <a:buNone/>
              <a:defRPr sz="1000"/>
            </a:lvl6pPr>
            <a:lvl7pPr marL="2743255" indent="0">
              <a:buNone/>
              <a:defRPr sz="1000"/>
            </a:lvl7pPr>
            <a:lvl8pPr marL="3200464" indent="0">
              <a:buNone/>
              <a:defRPr sz="1000"/>
            </a:lvl8pPr>
            <a:lvl9pPr marL="3657673" indent="0">
              <a:buNone/>
              <a:defRPr sz="1000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5" name="日付プレースホルダー 4">
            <a:extLst>
              <a:ext uri="{FF2B5EF4-FFF2-40B4-BE49-F238E27FC236}">
                <a16:creationId xmlns:a16="http://schemas.microsoft.com/office/drawing/2014/main" id="{903319DE-749C-6F8B-0620-12F1BBFD566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BF142E-C2E9-4D2A-B479-4545C056675E}" type="datetimeFigureOut">
              <a:rPr kumimoji="1" lang="ja-JP" altLang="en-US" smtClean="0"/>
              <a:t>2024/12/5</a:t>
            </a:fld>
            <a:endParaRPr kumimoji="1" lang="ja-JP" altLang="en-US"/>
          </a:p>
        </p:txBody>
      </p:sp>
      <p:sp>
        <p:nvSpPr>
          <p:cNvPr id="6" name="フッター プレースホルダー 5">
            <a:extLst>
              <a:ext uri="{FF2B5EF4-FFF2-40B4-BE49-F238E27FC236}">
                <a16:creationId xmlns:a16="http://schemas.microsoft.com/office/drawing/2014/main" id="{7B6ACD97-0E6A-0449-4AD0-1E48958F1B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スライド番号プレースホルダー 6">
            <a:extLst>
              <a:ext uri="{FF2B5EF4-FFF2-40B4-BE49-F238E27FC236}">
                <a16:creationId xmlns:a16="http://schemas.microsoft.com/office/drawing/2014/main" id="{753116DE-5B9D-F432-3F8A-98BD6AFB42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501BD3-1EF5-439B-B749-E2ADDBEF0C0B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58044601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2596C1C-90EA-780D-557A-CD13A113934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1719530903"/>
              </p:ext>
            </p:ext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19" imgW="416" imgH="416" progId="TCLayout.ActiveDocument.1">
                  <p:embed/>
                </p:oleObj>
              </mc:Choice>
              <mc:Fallback>
                <p:oleObj name="think-cell スライド" r:id="rId19" imgW="416" imgH="41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2596C1C-90EA-780D-557A-CD13A113934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プレースホルダー 1">
            <a:extLst>
              <a:ext uri="{FF2B5EF4-FFF2-40B4-BE49-F238E27FC236}">
                <a16:creationId xmlns:a16="http://schemas.microsoft.com/office/drawing/2014/main" id="{0BE0CF26-7709-C76F-8A36-C73DBD188A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テキスト プレースホルダー 2">
            <a:extLst>
              <a:ext uri="{FF2B5EF4-FFF2-40B4-BE49-F238E27FC236}">
                <a16:creationId xmlns:a16="http://schemas.microsoft.com/office/drawing/2014/main" id="{A91B4CA8-B65B-DAFE-295E-82D35AFFB7C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日付プレースホルダー 3">
            <a:extLst>
              <a:ext uri="{FF2B5EF4-FFF2-40B4-BE49-F238E27FC236}">
                <a16:creationId xmlns:a16="http://schemas.microsoft.com/office/drawing/2014/main" id="{6DE6B75E-FD47-DB5C-62B9-260B5E9523D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4BF142E-C2E9-4D2A-B479-4545C056675E}" type="datetimeFigureOut">
              <a:rPr kumimoji="1" lang="ja-JP" altLang="en-US" smtClean="0"/>
              <a:t>2024/12/5</a:t>
            </a:fld>
            <a:endParaRPr kumimoji="1" lang="ja-JP" altLang="en-US"/>
          </a:p>
        </p:txBody>
      </p:sp>
      <p:sp>
        <p:nvSpPr>
          <p:cNvPr id="5" name="フッター プレースホルダー 4">
            <a:extLst>
              <a:ext uri="{FF2B5EF4-FFF2-40B4-BE49-F238E27FC236}">
                <a16:creationId xmlns:a16="http://schemas.microsoft.com/office/drawing/2014/main" id="{AC9BD4CF-9C77-F3C4-941B-90B960DFFEA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kumimoji="1" lang="ja-JP" altLang="en-US"/>
          </a:p>
        </p:txBody>
      </p:sp>
      <p:sp>
        <p:nvSpPr>
          <p:cNvPr id="6" name="スライド番号プレースホルダー 5">
            <a:extLst>
              <a:ext uri="{FF2B5EF4-FFF2-40B4-BE49-F238E27FC236}">
                <a16:creationId xmlns:a16="http://schemas.microsoft.com/office/drawing/2014/main" id="{D7B8C4B7-347B-D6C4-75D8-17A0FB59712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6501BD3-1EF5-439B-B749-E2ADDBEF0C0B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41868104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3" r:id="rId12"/>
    <p:sldLayoutId id="2147483664" r:id="rId13"/>
    <p:sldLayoutId id="2147483665" r:id="rId14"/>
    <p:sldLayoutId id="2147483666" r:id="rId15"/>
    <p:sldLayoutId id="2147483667" r:id="rId16"/>
  </p:sldLayoutIdLst>
  <p:txStyles>
    <p:titleStyle>
      <a:lvl1pPr algn="l" defTabSz="914418" rtl="0" eaLnBrk="1" latinLnBrk="0" hangingPunct="1">
        <a:lnSpc>
          <a:spcPct val="90000"/>
        </a:lnSpc>
        <a:spcBef>
          <a:spcPct val="0"/>
        </a:spcBef>
        <a:buNone/>
        <a:defRPr kumimoji="1"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5" indent="-228605" algn="l" defTabSz="914418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kumimoji="1"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14" indent="-228605" algn="l" defTabSz="91441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23" indent="-228605" algn="l" defTabSz="91441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32" indent="-228605" algn="l" defTabSz="91441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41" indent="-228605" algn="l" defTabSz="91441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50" indent="-228605" algn="l" defTabSz="91441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59" indent="-228605" algn="l" defTabSz="91441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69" indent="-228605" algn="l" defTabSz="91441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78" indent="-228605" algn="l" defTabSz="91441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ja-JP"/>
      </a:defPPr>
      <a:lvl1pPr marL="0" algn="l" defTabSz="914418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9" algn="l" defTabSz="914418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18" algn="l" defTabSz="914418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27" algn="l" defTabSz="914418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37" algn="l" defTabSz="914418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46" algn="l" defTabSz="914418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55" algn="l" defTabSz="914418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64" algn="l" defTabSz="914418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73" algn="l" defTabSz="914418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8" name="表 50">
            <a:extLst>
              <a:ext uri="{FF2B5EF4-FFF2-40B4-BE49-F238E27FC236}">
                <a16:creationId xmlns:a16="http://schemas.microsoft.com/office/drawing/2014/main" id="{235DB7BA-A186-9404-0698-13F655AF38B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12716440"/>
              </p:ext>
            </p:extLst>
          </p:nvPr>
        </p:nvGraphicFramePr>
        <p:xfrm>
          <a:off x="481909" y="4618272"/>
          <a:ext cx="5400000" cy="138465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32591">
                  <a:extLst>
                    <a:ext uri="{9D8B030D-6E8A-4147-A177-3AD203B41FA5}">
                      <a16:colId xmlns:a16="http://schemas.microsoft.com/office/drawing/2014/main" val="2074278156"/>
                    </a:ext>
                  </a:extLst>
                </a:gridCol>
                <a:gridCol w="4167409">
                  <a:extLst>
                    <a:ext uri="{9D8B030D-6E8A-4147-A177-3AD203B41FA5}">
                      <a16:colId xmlns:a16="http://schemas.microsoft.com/office/drawing/2014/main" val="1296870762"/>
                    </a:ext>
                  </a:extLst>
                </a:gridCol>
              </a:tblGrid>
              <a:tr h="329472">
                <a:tc gridSpan="2">
                  <a:txBody>
                    <a:bodyPr/>
                    <a:lstStyle/>
                    <a:p>
                      <a:r>
                        <a:rPr kumimoji="1" lang="ja-JP" altLang="en-US" sz="1100" dirty="0"/>
                        <a:t>コミュニティ代表企業</a:t>
                      </a:r>
                      <a:r>
                        <a:rPr kumimoji="1" lang="en-US" altLang="ja-JP" sz="1100" dirty="0"/>
                        <a:t>/</a:t>
                      </a:r>
                      <a:r>
                        <a:rPr kumimoji="1" lang="ja-JP" altLang="en-US" sz="1100" dirty="0"/>
                        <a:t>団体情報　または代表者の所属する企業</a:t>
                      </a:r>
                      <a:r>
                        <a:rPr kumimoji="1" lang="en-US" altLang="ja-JP" sz="1100" dirty="0"/>
                        <a:t>/</a:t>
                      </a:r>
                      <a:r>
                        <a:rPr kumimoji="1" lang="ja-JP" altLang="en-US" sz="1100" dirty="0"/>
                        <a:t>団体情報</a:t>
                      </a:r>
                      <a:br>
                        <a:rPr kumimoji="1" lang="en-US" altLang="ja-JP" sz="1100" dirty="0"/>
                      </a:br>
                      <a:r>
                        <a:rPr kumimoji="1" lang="en-US" altLang="ja-JP" sz="900" dirty="0"/>
                        <a:t>※</a:t>
                      </a:r>
                      <a:r>
                        <a:rPr kumimoji="1" lang="ja-JP" altLang="en-US" sz="900" dirty="0"/>
                        <a:t>代表者がフリーランスの場合は個人名を記載ください。</a:t>
                      </a:r>
                      <a:endParaRPr kumimoji="1" lang="ja-JP" altLang="en-US" sz="11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F7F7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50647385"/>
                  </a:ext>
                </a:extLst>
              </a:tr>
              <a:tr h="329472">
                <a:tc>
                  <a:txBody>
                    <a:bodyPr/>
                    <a:lstStyle/>
                    <a:p>
                      <a:pPr>
                        <a:tabLst>
                          <a:tab pos="1524000" algn="l"/>
                        </a:tabLst>
                      </a:pPr>
                      <a:r>
                        <a:rPr kumimoji="1" lang="ja-JP" altLang="en-US" sz="1050" b="1" dirty="0">
                          <a:solidFill>
                            <a:schemeClr val="bg1"/>
                          </a:solidFill>
                        </a:rPr>
                        <a:t>会社</a:t>
                      </a:r>
                      <a:r>
                        <a:rPr kumimoji="1" lang="en-US" altLang="ja-JP" sz="1050" b="1" dirty="0">
                          <a:solidFill>
                            <a:schemeClr val="bg1"/>
                          </a:solidFill>
                        </a:rPr>
                        <a:t>/</a:t>
                      </a:r>
                      <a:r>
                        <a:rPr kumimoji="1" lang="ja-JP" altLang="en-US" sz="1050" b="1" dirty="0">
                          <a:solidFill>
                            <a:schemeClr val="bg1"/>
                          </a:solidFill>
                        </a:rPr>
                        <a:t>団体名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tabLst>
                          <a:tab pos="1524000" algn="l"/>
                        </a:tabLst>
                      </a:pPr>
                      <a:r>
                        <a:rPr kumimoji="1" lang="ja-JP" altLang="en-US" sz="1100" dirty="0"/>
                        <a:t>テキスト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4206392"/>
                  </a:ext>
                </a:extLst>
              </a:tr>
              <a:tr h="329472">
                <a:tc>
                  <a:txBody>
                    <a:bodyPr/>
                    <a:lstStyle/>
                    <a:p>
                      <a:pPr>
                        <a:tabLst>
                          <a:tab pos="1524000" algn="l"/>
                        </a:tabLst>
                      </a:pPr>
                      <a:r>
                        <a:rPr kumimoji="1" lang="ja-JP" altLang="en-US" sz="1050" b="1" dirty="0">
                          <a:solidFill>
                            <a:schemeClr val="bg1"/>
                          </a:solidFill>
                        </a:rPr>
                        <a:t>事業内容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1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524000" algn="l"/>
                        </a:tabLst>
                        <a:defRPr/>
                      </a:pPr>
                      <a:r>
                        <a:rPr kumimoji="1" lang="ja-JP" altLang="en-US" sz="1100" dirty="0"/>
                        <a:t>テキスト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10608487"/>
                  </a:ext>
                </a:extLst>
              </a:tr>
              <a:tr h="329472">
                <a:tc>
                  <a:txBody>
                    <a:bodyPr/>
                    <a:lstStyle/>
                    <a:p>
                      <a:pPr>
                        <a:tabLst>
                          <a:tab pos="1524000" algn="l"/>
                        </a:tabLst>
                      </a:pPr>
                      <a:r>
                        <a:rPr kumimoji="1" lang="ja-JP" altLang="en-US" sz="1050" b="1" dirty="0">
                          <a:solidFill>
                            <a:schemeClr val="bg1"/>
                          </a:solidFill>
                        </a:rPr>
                        <a:t>企業</a:t>
                      </a:r>
                      <a:r>
                        <a:rPr kumimoji="1" lang="en-US" altLang="ja-JP" sz="1050" b="1" dirty="0">
                          <a:solidFill>
                            <a:schemeClr val="bg1"/>
                          </a:solidFill>
                        </a:rPr>
                        <a:t>/</a:t>
                      </a:r>
                      <a:r>
                        <a:rPr kumimoji="1" lang="ja-JP" altLang="en-US" sz="1050" b="1" dirty="0">
                          <a:solidFill>
                            <a:schemeClr val="bg1"/>
                          </a:solidFill>
                        </a:rPr>
                        <a:t>団体</a:t>
                      </a:r>
                      <a:r>
                        <a:rPr kumimoji="1" lang="en-US" altLang="ja-JP" sz="1050" b="1" dirty="0">
                          <a:solidFill>
                            <a:schemeClr val="bg1"/>
                          </a:solidFill>
                        </a:rPr>
                        <a:t>URL</a:t>
                      </a:r>
                      <a:endParaRPr kumimoji="1" lang="ja-JP" altLang="en-US" sz="105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1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524000" algn="l"/>
                        </a:tabLst>
                        <a:defRPr/>
                      </a:pPr>
                      <a:r>
                        <a:rPr kumimoji="1" lang="ja-JP" altLang="en-US" sz="1100" dirty="0"/>
                        <a:t>テキスト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02946419"/>
                  </a:ext>
                </a:extLst>
              </a:tr>
            </a:tbl>
          </a:graphicData>
        </a:graphic>
      </p:graphicFrame>
      <p:graphicFrame>
        <p:nvGraphicFramePr>
          <p:cNvPr id="125" name="表 50">
            <a:extLst>
              <a:ext uri="{FF2B5EF4-FFF2-40B4-BE49-F238E27FC236}">
                <a16:creationId xmlns:a16="http://schemas.microsoft.com/office/drawing/2014/main" id="{7C2FC481-6E2B-0FE9-28B1-D9459A9ACA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94489702"/>
              </p:ext>
            </p:extLst>
          </p:nvPr>
        </p:nvGraphicFramePr>
        <p:xfrm>
          <a:off x="6305718" y="2860086"/>
          <a:ext cx="5400000" cy="1519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400000">
                  <a:extLst>
                    <a:ext uri="{9D8B030D-6E8A-4147-A177-3AD203B41FA5}">
                      <a16:colId xmlns:a16="http://schemas.microsoft.com/office/drawing/2014/main" val="2074278156"/>
                    </a:ext>
                  </a:extLst>
                </a:gridCol>
              </a:tblGrid>
              <a:tr h="331200">
                <a:tc>
                  <a:txBody>
                    <a:bodyPr/>
                    <a:lstStyle/>
                    <a:p>
                      <a:pPr marL="0" marR="0" lvl="0" indent="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+mn-lt"/>
                          <a:ea typeface="游ゴシック" panose="020B0400000000000000" pitchFamily="34" charset="-128"/>
                          <a:cs typeface="+mn-cs"/>
                        </a:rPr>
                        <a:t>個人の自律的な成長による持続的な企業価値の向上に取組む目的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F7F7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0647385"/>
                  </a:ext>
                </a:extLst>
              </a:tr>
              <a:tr h="594000">
                <a:tc>
                  <a:txBody>
                    <a:bodyPr/>
                    <a:lstStyle/>
                    <a:p>
                      <a:pPr>
                        <a:tabLst>
                          <a:tab pos="1524000" algn="l"/>
                        </a:tabLst>
                      </a:pPr>
                      <a:r>
                        <a:rPr kumimoji="1" lang="ja-JP" altLang="en-US" sz="1100" dirty="0"/>
                        <a:t>背景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4206392"/>
                  </a:ext>
                </a:extLst>
              </a:tr>
              <a:tr h="594000">
                <a:tc>
                  <a:txBody>
                    <a:bodyPr/>
                    <a:lstStyle/>
                    <a:p>
                      <a:pPr>
                        <a:tabLst>
                          <a:tab pos="1524000" algn="l"/>
                        </a:tabLst>
                      </a:pPr>
                      <a:r>
                        <a:rPr kumimoji="1" lang="ja-JP" altLang="en-US" sz="1100" dirty="0"/>
                        <a:t>目的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22222659"/>
                  </a:ext>
                </a:extLst>
              </a:tr>
            </a:tbl>
          </a:graphicData>
        </a:graphic>
      </p:graphicFrame>
      <p:graphicFrame>
        <p:nvGraphicFramePr>
          <p:cNvPr id="126" name="表 50">
            <a:extLst>
              <a:ext uri="{FF2B5EF4-FFF2-40B4-BE49-F238E27FC236}">
                <a16:creationId xmlns:a16="http://schemas.microsoft.com/office/drawing/2014/main" id="{FA969CAD-1CB0-FE0E-5B75-5401EF8FE28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6418732"/>
              </p:ext>
            </p:extLst>
          </p:nvPr>
        </p:nvGraphicFramePr>
        <p:xfrm>
          <a:off x="6305718" y="4618272"/>
          <a:ext cx="5400000" cy="154095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400000">
                  <a:extLst>
                    <a:ext uri="{9D8B030D-6E8A-4147-A177-3AD203B41FA5}">
                      <a16:colId xmlns:a16="http://schemas.microsoft.com/office/drawing/2014/main" val="2074278156"/>
                    </a:ext>
                  </a:extLst>
                </a:gridCol>
              </a:tblGrid>
              <a:tr h="331200"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9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自社の求めるキャリアオーナーシップを発揮し、自身と組織の成長に貢献する人材の要件（人物像）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F7F7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0647385"/>
                  </a:ext>
                </a:extLst>
              </a:tr>
              <a:tr h="1209752">
                <a:tc>
                  <a:txBody>
                    <a:bodyPr/>
                    <a:lstStyle/>
                    <a:p>
                      <a:pPr>
                        <a:tabLst>
                          <a:tab pos="1524000" algn="l"/>
                        </a:tabLst>
                      </a:pPr>
                      <a:r>
                        <a:rPr kumimoji="1" lang="ja-JP" altLang="en-US" sz="1100" dirty="0"/>
                        <a:t>テキスト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4206392"/>
                  </a:ext>
                </a:extLst>
              </a:tr>
            </a:tbl>
          </a:graphicData>
        </a:graphic>
      </p:graphicFrame>
      <p:graphicFrame>
        <p:nvGraphicFramePr>
          <p:cNvPr id="5" name="表 50">
            <a:extLst>
              <a:ext uri="{FF2B5EF4-FFF2-40B4-BE49-F238E27FC236}">
                <a16:creationId xmlns:a16="http://schemas.microsoft.com/office/drawing/2014/main" id="{10CAF133-FDDD-75E6-0FBC-F7D49B0062B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97575908"/>
              </p:ext>
            </p:extLst>
          </p:nvPr>
        </p:nvGraphicFramePr>
        <p:xfrm>
          <a:off x="481909" y="1073019"/>
          <a:ext cx="5400000" cy="65894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400000">
                  <a:extLst>
                    <a:ext uri="{9D8B030D-6E8A-4147-A177-3AD203B41FA5}">
                      <a16:colId xmlns:a16="http://schemas.microsoft.com/office/drawing/2014/main" val="2074278156"/>
                    </a:ext>
                  </a:extLst>
                </a:gridCol>
              </a:tblGrid>
              <a:tr h="329472">
                <a:tc>
                  <a:txBody>
                    <a:bodyPr/>
                    <a:lstStyle/>
                    <a:p>
                      <a:r>
                        <a:rPr kumimoji="1" lang="ja-JP" altLang="en-US" sz="1100" dirty="0"/>
                        <a:t>コミュニティ名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F7F7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0647385"/>
                  </a:ext>
                </a:extLst>
              </a:tr>
              <a:tr h="329472">
                <a:tc>
                  <a:txBody>
                    <a:bodyPr/>
                    <a:lstStyle/>
                    <a:p>
                      <a:pPr>
                        <a:tabLst>
                          <a:tab pos="1524000" algn="l"/>
                        </a:tabLst>
                      </a:pPr>
                      <a:r>
                        <a:rPr kumimoji="1" lang="ja-JP" altLang="en-US" sz="1100" dirty="0"/>
                        <a:t>テキスト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4206392"/>
                  </a:ext>
                </a:extLst>
              </a:tr>
            </a:tbl>
          </a:graphicData>
        </a:graphic>
      </p:graphicFrame>
      <p:graphicFrame>
        <p:nvGraphicFramePr>
          <p:cNvPr id="6" name="表 50">
            <a:extLst>
              <a:ext uri="{FF2B5EF4-FFF2-40B4-BE49-F238E27FC236}">
                <a16:creationId xmlns:a16="http://schemas.microsoft.com/office/drawing/2014/main" id="{A87B10B1-F7A4-C269-1801-BAD9E738EFA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12082262"/>
              </p:ext>
            </p:extLst>
          </p:nvPr>
        </p:nvGraphicFramePr>
        <p:xfrm>
          <a:off x="481909" y="1905582"/>
          <a:ext cx="5400000" cy="170650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400000">
                  <a:extLst>
                    <a:ext uri="{9D8B030D-6E8A-4147-A177-3AD203B41FA5}">
                      <a16:colId xmlns:a16="http://schemas.microsoft.com/office/drawing/2014/main" val="2074278156"/>
                    </a:ext>
                  </a:extLst>
                </a:gridCol>
              </a:tblGrid>
              <a:tr h="329472">
                <a:tc>
                  <a:txBody>
                    <a:bodyPr/>
                    <a:lstStyle/>
                    <a:p>
                      <a:r>
                        <a:rPr kumimoji="1" lang="ja-JP" altLang="en-US" sz="1050" dirty="0"/>
                        <a:t>コミュニティ所属会社名</a:t>
                      </a:r>
                      <a:r>
                        <a:rPr kumimoji="1" lang="en-US" altLang="ja-JP" sz="1050" dirty="0"/>
                        <a:t>/</a:t>
                      </a:r>
                      <a:r>
                        <a:rPr kumimoji="1" lang="ja-JP" altLang="en-US" sz="1050" dirty="0"/>
                        <a:t>団体名　または参加者の所属する企業名</a:t>
                      </a:r>
                      <a:r>
                        <a:rPr kumimoji="1" lang="en-US" altLang="ja-JP" sz="1050" dirty="0"/>
                        <a:t>/</a:t>
                      </a:r>
                      <a:r>
                        <a:rPr kumimoji="1" lang="ja-JP" altLang="en-US" sz="1050" dirty="0"/>
                        <a:t>団体名　</a:t>
                      </a:r>
                      <a:endParaRPr kumimoji="1" lang="en-US" altLang="ja-JP" sz="1050" dirty="0"/>
                    </a:p>
                    <a:p>
                      <a:r>
                        <a:rPr kumimoji="1" lang="en-US" altLang="ja-JP" sz="900" dirty="0"/>
                        <a:t>※</a:t>
                      </a:r>
                      <a:r>
                        <a:rPr kumimoji="1" lang="ja-JP" altLang="en-US" sz="900" dirty="0"/>
                        <a:t>表内に記載し切れない場合は、参考資料に記載ください。</a:t>
                      </a:r>
                      <a:endParaRPr kumimoji="1" lang="en-US" altLang="ja-JP" sz="9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F7F7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0647385"/>
                  </a:ext>
                </a:extLst>
              </a:tr>
              <a:tr h="1317888">
                <a:tc>
                  <a:txBody>
                    <a:bodyPr/>
                    <a:lstStyle/>
                    <a:p>
                      <a:pPr>
                        <a:tabLst>
                          <a:tab pos="1524000" algn="l"/>
                        </a:tabLst>
                      </a:pPr>
                      <a:r>
                        <a:rPr kumimoji="1" lang="ja-JP" altLang="en-US" sz="1100" dirty="0"/>
                        <a:t>テキスト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4206392"/>
                  </a:ext>
                </a:extLst>
              </a:tr>
            </a:tbl>
          </a:graphicData>
        </a:graphic>
      </p:graphicFrame>
      <p:graphicFrame>
        <p:nvGraphicFramePr>
          <p:cNvPr id="7" name="表 50">
            <a:extLst>
              <a:ext uri="{FF2B5EF4-FFF2-40B4-BE49-F238E27FC236}">
                <a16:creationId xmlns:a16="http://schemas.microsoft.com/office/drawing/2014/main" id="{787AC2CE-DC1C-8D11-BF4C-FF44CFAD43E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53735538"/>
              </p:ext>
            </p:extLst>
          </p:nvPr>
        </p:nvGraphicFramePr>
        <p:xfrm>
          <a:off x="6305718" y="1073019"/>
          <a:ext cx="5400000" cy="154808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400000">
                  <a:extLst>
                    <a:ext uri="{9D8B030D-6E8A-4147-A177-3AD203B41FA5}">
                      <a16:colId xmlns:a16="http://schemas.microsoft.com/office/drawing/2014/main" val="2074278156"/>
                    </a:ext>
                  </a:extLst>
                </a:gridCol>
              </a:tblGrid>
              <a:tr h="331200">
                <a:tc>
                  <a:txBody>
                    <a:bodyPr/>
                    <a:lstStyle/>
                    <a:p>
                      <a:pPr algn="l"/>
                      <a:r>
                        <a:rPr kumimoji="1" lang="ja-JP" altLang="en-US" sz="1100" dirty="0"/>
                        <a:t>本コミュニティの活動概要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F7F7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0647385"/>
                  </a:ext>
                </a:extLst>
              </a:tr>
              <a:tr h="1216881">
                <a:tc>
                  <a:txBody>
                    <a:bodyPr/>
                    <a:lstStyle/>
                    <a:p>
                      <a:pPr>
                        <a:tabLst>
                          <a:tab pos="1524000" algn="l"/>
                        </a:tabLst>
                      </a:pPr>
                      <a:r>
                        <a:rPr kumimoji="1" lang="ja-JP" altLang="en-US" sz="1100" dirty="0"/>
                        <a:t>テキスト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4206392"/>
                  </a:ext>
                </a:extLst>
              </a:tr>
            </a:tbl>
          </a:graphicData>
        </a:graphic>
      </p:graphicFrame>
      <p:sp>
        <p:nvSpPr>
          <p:cNvPr id="8" name="テキスト ボックス 7">
            <a:extLst>
              <a:ext uri="{FF2B5EF4-FFF2-40B4-BE49-F238E27FC236}">
                <a16:creationId xmlns:a16="http://schemas.microsoft.com/office/drawing/2014/main" id="{2B19AB2A-0017-B83D-BD7F-F06096B803EB}"/>
              </a:ext>
            </a:extLst>
          </p:cNvPr>
          <p:cNvSpPr txBox="1"/>
          <p:nvPr/>
        </p:nvSpPr>
        <p:spPr>
          <a:xfrm>
            <a:off x="335122" y="371848"/>
            <a:ext cx="7746031" cy="66434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418">
              <a:defRPr/>
            </a:pPr>
            <a:r>
              <a:rPr lang="ja-JP" altLang="en-US" sz="2117" b="1" dirty="0">
                <a:solidFill>
                  <a:prstClr val="black"/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キャリアオーナーシップ経営 </a:t>
            </a:r>
            <a:r>
              <a:rPr lang="en-US" altLang="ja-JP" sz="2117" b="1" dirty="0">
                <a:solidFill>
                  <a:prstClr val="black"/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AWARD 2025 </a:t>
            </a:r>
            <a:r>
              <a:rPr lang="ja-JP" altLang="en-US" sz="2117" b="1" dirty="0">
                <a:solidFill>
                  <a:prstClr val="black"/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エントリーシート</a:t>
            </a:r>
            <a:br>
              <a:rPr lang="en-US" altLang="ja-JP" sz="2117" b="1" dirty="0">
                <a:solidFill>
                  <a:prstClr val="black"/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</a:br>
            <a:r>
              <a:rPr lang="ja-JP" altLang="en-US" sz="1600" b="1" dirty="0">
                <a:solidFill>
                  <a:prstClr val="black"/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（越境コミュニティの部）</a:t>
            </a:r>
            <a:endParaRPr lang="ja-JP" altLang="en-US" sz="2117" b="1" dirty="0">
              <a:solidFill>
                <a:prstClr val="black"/>
              </a:solidFill>
              <a:latin typeface="Yu Gothic" panose="020B0400000000000000" pitchFamily="34" charset="-128"/>
              <a:ea typeface="Yu Gothic" panose="020B0400000000000000" pitchFamily="34" charset="-128"/>
            </a:endParaRPr>
          </a:p>
        </p:txBody>
      </p:sp>
      <p:graphicFrame>
        <p:nvGraphicFramePr>
          <p:cNvPr id="9" name="表 50">
            <a:extLst>
              <a:ext uri="{FF2B5EF4-FFF2-40B4-BE49-F238E27FC236}">
                <a16:creationId xmlns:a16="http://schemas.microsoft.com/office/drawing/2014/main" id="{65029113-70FE-D686-3607-CE492050688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40495632"/>
              </p:ext>
            </p:extLst>
          </p:nvPr>
        </p:nvGraphicFramePr>
        <p:xfrm>
          <a:off x="481909" y="3785709"/>
          <a:ext cx="5400000" cy="65894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400000">
                  <a:extLst>
                    <a:ext uri="{9D8B030D-6E8A-4147-A177-3AD203B41FA5}">
                      <a16:colId xmlns:a16="http://schemas.microsoft.com/office/drawing/2014/main" val="2074278156"/>
                    </a:ext>
                  </a:extLst>
                </a:gridCol>
              </a:tblGrid>
              <a:tr h="329472">
                <a:tc>
                  <a:txBody>
                    <a:bodyPr/>
                    <a:lstStyle/>
                    <a:p>
                      <a:r>
                        <a:rPr kumimoji="1" lang="ja-JP" altLang="en-US" sz="1100" dirty="0"/>
                        <a:t>コミュニティの事が分かる</a:t>
                      </a:r>
                      <a:r>
                        <a:rPr kumimoji="1" lang="en-US" altLang="ja-JP" sz="1100" dirty="0"/>
                        <a:t>URL</a:t>
                      </a:r>
                      <a:r>
                        <a:rPr kumimoji="1" lang="ja-JP" altLang="en-US" sz="1100" dirty="0"/>
                        <a:t>（任意）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F7F7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0647385"/>
                  </a:ext>
                </a:extLst>
              </a:tr>
              <a:tr h="329472">
                <a:tc>
                  <a:txBody>
                    <a:bodyPr/>
                    <a:lstStyle/>
                    <a:p>
                      <a:pPr>
                        <a:tabLst>
                          <a:tab pos="1524000" algn="l"/>
                        </a:tabLst>
                      </a:pPr>
                      <a:r>
                        <a:rPr kumimoji="1" lang="ja-JP" altLang="en-US" sz="1100" dirty="0"/>
                        <a:t>テキスト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420639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9843778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1" name="think-cell data - do not delete" hidden="1">
            <a:extLst>
              <a:ext uri="{FF2B5EF4-FFF2-40B4-BE49-F238E27FC236}">
                <a16:creationId xmlns:a16="http://schemas.microsoft.com/office/drawing/2014/main" id="{F6A293F1-1F20-5C51-94F5-5239E0E9B7E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4" imgW="416" imgH="416" progId="TCLayout.ActiveDocument.1">
                  <p:embed/>
                </p:oleObj>
              </mc:Choice>
              <mc:Fallback>
                <p:oleObj name="think-cell スライド" r:id="rId4" imgW="416" imgH="416" progId="TCLayout.ActiveDocument.1">
                  <p:embed/>
                  <p:pic>
                    <p:nvPicPr>
                      <p:cNvPr id="5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6A293F1-1F20-5C51-94F5-5239E0E9B7E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" name="表 50">
            <a:extLst>
              <a:ext uri="{FF2B5EF4-FFF2-40B4-BE49-F238E27FC236}">
                <a16:creationId xmlns:a16="http://schemas.microsoft.com/office/drawing/2014/main" id="{0EE6E461-5E86-75CE-0786-7EB3DF18ECE6}"/>
              </a:ext>
            </a:extLst>
          </p:cNvPr>
          <p:cNvGraphicFramePr>
            <a:graphicFrameLocks noChangeAspect="1"/>
          </p:cNvGraphicFramePr>
          <p:nvPr/>
        </p:nvGraphicFramePr>
        <p:xfrm>
          <a:off x="306875" y="1226072"/>
          <a:ext cx="5760000" cy="1333960"/>
        </p:xfrm>
        <a:graphic>
          <a:graphicData uri="http://schemas.openxmlformats.org/drawingml/2006/table">
            <a:tbl>
              <a:tblPr firstCol="1" bandCol="1">
                <a:tableStyleId>{5C22544A-7EE6-4342-B048-85BDC9FD1C3A}</a:tableStyleId>
              </a:tblPr>
              <a:tblGrid>
                <a:gridCol w="1620000">
                  <a:extLst>
                    <a:ext uri="{9D8B030D-6E8A-4147-A177-3AD203B41FA5}">
                      <a16:colId xmlns:a16="http://schemas.microsoft.com/office/drawing/2014/main" val="2074278156"/>
                    </a:ext>
                  </a:extLst>
                </a:gridCol>
                <a:gridCol w="4140000">
                  <a:extLst>
                    <a:ext uri="{9D8B030D-6E8A-4147-A177-3AD203B41FA5}">
                      <a16:colId xmlns:a16="http://schemas.microsoft.com/office/drawing/2014/main" val="3383134258"/>
                    </a:ext>
                  </a:extLst>
                </a:gridCol>
              </a:tblGrid>
              <a:tr h="334800">
                <a:tc>
                  <a:txBody>
                    <a:bodyPr/>
                    <a:lstStyle/>
                    <a:p>
                      <a:pPr>
                        <a:tabLst>
                          <a:tab pos="1524000" algn="l"/>
                        </a:tabLst>
                      </a:pPr>
                      <a:r>
                        <a:rPr kumimoji="1" lang="ja-JP" altLang="en-US" sz="1000" b="1" dirty="0">
                          <a:solidFill>
                            <a:schemeClr val="tx1"/>
                          </a:solidFill>
                        </a:rPr>
                        <a:t>① 背景・課題設定　</a:t>
                      </a:r>
                      <a:endParaRPr kumimoji="1" lang="ja-JP" alt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解決したいと考えた背景や設定した課題など</a:t>
                      </a:r>
                      <a:endParaRPr kumimoji="1" lang="ja-JP" altLang="en-US" sz="1400" dirty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4206392"/>
                  </a:ext>
                </a:extLst>
              </a:tr>
              <a:tr h="331940">
                <a:tc gridSpan="2">
                  <a:txBody>
                    <a:bodyPr/>
                    <a:lstStyle/>
                    <a:p>
                      <a:pPr marL="0" marR="0" lvl="0" indent="0" algn="l" defTabSz="91441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524000" algn="l"/>
                        </a:tabLst>
                        <a:defRPr/>
                      </a:pPr>
                      <a:r>
                        <a:rPr lang="ja-JP" altLang="en-US" sz="1000" b="0" dirty="0">
                          <a:solidFill>
                            <a:sysClr val="windowText" lastClr="000000"/>
                          </a:solidFill>
                        </a:rPr>
                        <a:t>テキスト記入（このスペースは自由にサイズ調整してご記載ください）</a:t>
                      </a:r>
                      <a:endParaRPr lang="en-US" altLang="ja-JP" sz="1000" b="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kumimoji="1" lang="ja-JP" altLang="en-US" sz="1400" dirty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14639268"/>
                  </a:ext>
                </a:extLst>
              </a:tr>
              <a:tr h="331940">
                <a:tc>
                  <a:txBody>
                    <a:bodyPr/>
                    <a:lstStyle/>
                    <a:p>
                      <a:pPr marL="0" marR="0" lvl="0" indent="0" algn="l" defTabSz="15240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② コンセプト・アイデア　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5240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施策の全体設計、課題を解決するコンセプト、新規性のポイント、</a:t>
                      </a:r>
                      <a:br>
                        <a:rPr kumimoji="1" lang="en-US" altLang="ja-JP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kumimoji="1" lang="ja-JP" altLang="en-US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自律・自走した人材と事業成長のつながり（期待する事業インパクト）など</a:t>
                      </a:r>
                      <a:endParaRPr kumimoji="1" lang="ja-JP" altLang="en-US" sz="800" dirty="0"/>
                    </a:p>
                  </a:txBody>
                  <a:tcPr anchor="ctr">
                    <a:lnL w="12700" cmpd="sng">
                      <a:noFill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94626187"/>
                  </a:ext>
                </a:extLst>
              </a:tr>
              <a:tr h="331940">
                <a:tc gridSpan="2">
                  <a:txBody>
                    <a:bodyPr/>
                    <a:lstStyle/>
                    <a:p>
                      <a:pPr marL="0" marR="0" lvl="0" indent="0" algn="l" defTabSz="15240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ja-JP" altLang="en-US" sz="1000" b="0" dirty="0">
                          <a:solidFill>
                            <a:sysClr val="windowText" lastClr="000000"/>
                          </a:solidFill>
                        </a:rPr>
                        <a:t>テキスト記入（このスペースは自由にサイズ調整してご記載ください）</a:t>
                      </a:r>
                      <a:endParaRPr lang="en-US" altLang="ja-JP" sz="1000" b="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15240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ja-JP" altLang="en-US" sz="800" dirty="0"/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2967920558"/>
                  </a:ext>
                </a:extLst>
              </a:tr>
            </a:tbl>
          </a:graphicData>
        </a:graphic>
      </p:graphicFrame>
      <p:graphicFrame>
        <p:nvGraphicFramePr>
          <p:cNvPr id="2" name="表 50">
            <a:extLst>
              <a:ext uri="{FF2B5EF4-FFF2-40B4-BE49-F238E27FC236}">
                <a16:creationId xmlns:a16="http://schemas.microsoft.com/office/drawing/2014/main" id="{EE3C5346-738D-901F-E19D-698C9B7B2A5F}"/>
              </a:ext>
            </a:extLst>
          </p:cNvPr>
          <p:cNvGraphicFramePr>
            <a:graphicFrameLocks noChangeAspect="1"/>
          </p:cNvGraphicFramePr>
          <p:nvPr/>
        </p:nvGraphicFramePr>
        <p:xfrm>
          <a:off x="6140746" y="1226072"/>
          <a:ext cx="5760000" cy="1333480"/>
        </p:xfrm>
        <a:graphic>
          <a:graphicData uri="http://schemas.openxmlformats.org/drawingml/2006/table">
            <a:tbl>
              <a:tblPr firstCol="1" bandCol="1">
                <a:tableStyleId>{5C22544A-7EE6-4342-B048-85BDC9FD1C3A}</a:tableStyleId>
              </a:tblPr>
              <a:tblGrid>
                <a:gridCol w="1620000">
                  <a:extLst>
                    <a:ext uri="{9D8B030D-6E8A-4147-A177-3AD203B41FA5}">
                      <a16:colId xmlns:a16="http://schemas.microsoft.com/office/drawing/2014/main" val="2074278156"/>
                    </a:ext>
                  </a:extLst>
                </a:gridCol>
                <a:gridCol w="4140000">
                  <a:extLst>
                    <a:ext uri="{9D8B030D-6E8A-4147-A177-3AD203B41FA5}">
                      <a16:colId xmlns:a16="http://schemas.microsoft.com/office/drawing/2014/main" val="3383134258"/>
                    </a:ext>
                  </a:extLst>
                </a:gridCol>
              </a:tblGrid>
              <a:tr h="334800">
                <a:tc>
                  <a:txBody>
                    <a:bodyPr/>
                    <a:lstStyle/>
                    <a:p>
                      <a:pPr>
                        <a:tabLst>
                          <a:tab pos="1524000" algn="l"/>
                        </a:tabLst>
                      </a:pPr>
                      <a:r>
                        <a:rPr kumimoji="1" lang="ja-JP" altLang="en-US" sz="1000" b="1" dirty="0">
                          <a:solidFill>
                            <a:schemeClr val="tx1"/>
                          </a:solidFill>
                        </a:rPr>
                        <a:t>③ 実施内容　</a:t>
                      </a:r>
                      <a:endParaRPr kumimoji="1" lang="ja-JP" alt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具体的に実行した取組み、それぞれのゴール設定など</a:t>
                      </a:r>
                      <a:endParaRPr kumimoji="1" lang="ja-JP" altLang="en-US" sz="1400" dirty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4206392"/>
                  </a:ext>
                </a:extLst>
              </a:tr>
              <a:tr h="331940">
                <a:tc gridSpan="2">
                  <a:txBody>
                    <a:bodyPr/>
                    <a:lstStyle/>
                    <a:p>
                      <a:pPr marL="0" marR="0" lvl="0" indent="0" algn="l" defTabSz="91441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524000" algn="l"/>
                        </a:tabLst>
                        <a:defRPr/>
                      </a:pPr>
                      <a:r>
                        <a:rPr lang="ja-JP" altLang="en-US" sz="1000" b="0" dirty="0">
                          <a:solidFill>
                            <a:sysClr val="windowText" lastClr="000000"/>
                          </a:solidFill>
                        </a:rPr>
                        <a:t>テキスト記入（このスペースは自由にサイズ調整してご記載ください）</a:t>
                      </a:r>
                      <a:endParaRPr lang="en-US" altLang="ja-JP" sz="1000" b="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kumimoji="1" lang="ja-JP" altLang="en-US" sz="1400" dirty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14639268"/>
                  </a:ext>
                </a:extLst>
              </a:tr>
              <a:tr h="334800">
                <a:tc>
                  <a:txBody>
                    <a:bodyPr/>
                    <a:lstStyle/>
                    <a:p>
                      <a:pPr marL="0" marR="0" lvl="0" indent="0" algn="l" defTabSz="15240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000" dirty="0">
                          <a:solidFill>
                            <a:schemeClr val="tx1"/>
                          </a:solidFill>
                        </a:rPr>
                        <a:t>④ 成果</a:t>
                      </a:r>
                      <a:endParaRPr kumimoji="1" lang="en-US" altLang="ja-JP" sz="10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5240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取組みがもたらした定量的な成果、定性的な社内の影響、事業インパクトなど</a:t>
                      </a:r>
                      <a:endParaRPr kumimoji="1" lang="ja-JP" altLang="en-US" sz="800" dirty="0"/>
                    </a:p>
                  </a:txBody>
                  <a:tcPr anchor="ctr">
                    <a:lnL w="12700" cmpd="sng">
                      <a:noFill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94626187"/>
                  </a:ext>
                </a:extLst>
              </a:tr>
              <a:tr h="331940">
                <a:tc gridSpan="2">
                  <a:txBody>
                    <a:bodyPr/>
                    <a:lstStyle/>
                    <a:p>
                      <a:pPr marL="0" marR="0" lvl="0" indent="0" algn="l" defTabSz="15240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ja-JP" altLang="en-US" sz="1000" b="0" dirty="0">
                          <a:solidFill>
                            <a:sysClr val="windowText" lastClr="000000"/>
                          </a:solidFill>
                        </a:rPr>
                        <a:t>テキスト記入（このスペースは自由にサイズ調整してご記載ください）</a:t>
                      </a:r>
                      <a:endParaRPr lang="en-US" altLang="ja-JP" sz="1000" b="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15240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ja-JP" altLang="en-US" sz="800" dirty="0"/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2967920558"/>
                  </a:ext>
                </a:extLst>
              </a:tr>
            </a:tbl>
          </a:graphicData>
        </a:graphic>
      </p:graphicFrame>
      <p:sp>
        <p:nvSpPr>
          <p:cNvPr id="5" name="テキスト ボックス 4">
            <a:extLst>
              <a:ext uri="{FF2B5EF4-FFF2-40B4-BE49-F238E27FC236}">
                <a16:creationId xmlns:a16="http://schemas.microsoft.com/office/drawing/2014/main" id="{5F197918-1370-FFA8-FE6B-1039CC61D0F9}"/>
              </a:ext>
            </a:extLst>
          </p:cNvPr>
          <p:cNvSpPr txBox="1"/>
          <p:nvPr/>
        </p:nvSpPr>
        <p:spPr>
          <a:xfrm>
            <a:off x="298994" y="362331"/>
            <a:ext cx="591219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418">
              <a:defRPr/>
            </a:pPr>
            <a:r>
              <a:rPr lang="ja-JP" altLang="en-US" sz="1600" b="1" dirty="0">
                <a:solidFill>
                  <a:prstClr val="black"/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キャリアオーナーシップ経営 </a:t>
            </a:r>
            <a:r>
              <a:rPr lang="en-US" altLang="ja-JP" sz="1600" b="1" dirty="0">
                <a:solidFill>
                  <a:prstClr val="black"/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AWARD 2025 </a:t>
            </a:r>
            <a:r>
              <a:rPr lang="ja-JP" altLang="en-US" sz="1600" b="1" dirty="0">
                <a:solidFill>
                  <a:prstClr val="black"/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エントリーシート</a:t>
            </a:r>
          </a:p>
        </p:txBody>
      </p:sp>
      <p:sp>
        <p:nvSpPr>
          <p:cNvPr id="3" name="テキスト ボックス 2">
            <a:extLst>
              <a:ext uri="{FF2B5EF4-FFF2-40B4-BE49-F238E27FC236}">
                <a16:creationId xmlns:a16="http://schemas.microsoft.com/office/drawing/2014/main" id="{E9E4734C-8987-6FC9-A0E4-005A7B7115F8}"/>
              </a:ext>
            </a:extLst>
          </p:cNvPr>
          <p:cNvSpPr txBox="1"/>
          <p:nvPr/>
        </p:nvSpPr>
        <p:spPr>
          <a:xfrm>
            <a:off x="298994" y="6495669"/>
            <a:ext cx="5416868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ja-JP" sz="800" b="1" dirty="0"/>
              <a:t>※</a:t>
            </a:r>
            <a:r>
              <a:rPr kumimoji="1" lang="ja-JP" altLang="en-US" sz="800" b="1" dirty="0"/>
              <a:t>記載するにあたってアピールしたい情報は色を付ける、太字にする等の視覚的に加工しても問題ありません。</a:t>
            </a:r>
          </a:p>
        </p:txBody>
      </p:sp>
    </p:spTree>
    <p:extLst>
      <p:ext uri="{BB962C8B-B14F-4D97-AF65-F5344CB8AC3E}">
        <p14:creationId xmlns:p14="http://schemas.microsoft.com/office/powerpoint/2010/main" val="236675059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テキスト ボックス 1">
            <a:extLst>
              <a:ext uri="{FF2B5EF4-FFF2-40B4-BE49-F238E27FC236}">
                <a16:creationId xmlns:a16="http://schemas.microsoft.com/office/drawing/2014/main" id="{D5E0BE9C-383C-DA88-E3E8-6D40D2F57AA6}"/>
              </a:ext>
            </a:extLst>
          </p:cNvPr>
          <p:cNvSpPr txBox="1"/>
          <p:nvPr/>
        </p:nvSpPr>
        <p:spPr>
          <a:xfrm>
            <a:off x="251665" y="94751"/>
            <a:ext cx="521809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418">
              <a:defRPr/>
            </a:pPr>
            <a:r>
              <a:rPr lang="ja-JP" altLang="en-US" sz="1400" b="1" dirty="0">
                <a:solidFill>
                  <a:srgbClr val="000000"/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キャリアオーナーシップ経営 </a:t>
            </a:r>
            <a:r>
              <a:rPr lang="en-US" altLang="ja-JP" sz="1400" b="1" dirty="0">
                <a:solidFill>
                  <a:srgbClr val="000000"/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AWARD 2025</a:t>
            </a:r>
            <a:r>
              <a:rPr lang="ja-JP" altLang="en-US" sz="1400" b="1" dirty="0">
                <a:solidFill>
                  <a:srgbClr val="000000"/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エントリーシート</a:t>
            </a:r>
            <a:endParaRPr lang="ja-JP" altLang="en-US" sz="1400" b="1" dirty="0">
              <a:solidFill>
                <a:prstClr val="black"/>
              </a:solidFill>
              <a:latin typeface="Yu Gothic" panose="020B0400000000000000" pitchFamily="34" charset="-128"/>
              <a:ea typeface="Yu Gothic" panose="020B0400000000000000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7060586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テキスト ボックス 2">
            <a:extLst>
              <a:ext uri="{FF2B5EF4-FFF2-40B4-BE49-F238E27FC236}">
                <a16:creationId xmlns:a16="http://schemas.microsoft.com/office/drawing/2014/main" id="{317A38DA-28A8-3D82-9758-18A29CD24DD9}"/>
              </a:ext>
            </a:extLst>
          </p:cNvPr>
          <p:cNvSpPr txBox="1"/>
          <p:nvPr/>
        </p:nvSpPr>
        <p:spPr>
          <a:xfrm>
            <a:off x="251665" y="94751"/>
            <a:ext cx="521809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418">
              <a:defRPr/>
            </a:pPr>
            <a:r>
              <a:rPr lang="ja-JP" altLang="en-US" sz="1400" b="1" dirty="0">
                <a:solidFill>
                  <a:srgbClr val="000000"/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キャリアオーナーシップ経営 </a:t>
            </a:r>
            <a:r>
              <a:rPr lang="en-US" altLang="ja-JP" sz="1400" b="1" dirty="0">
                <a:solidFill>
                  <a:srgbClr val="000000"/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AWARD 2025</a:t>
            </a:r>
            <a:r>
              <a:rPr lang="ja-JP" altLang="en-US" sz="1400" b="1" dirty="0">
                <a:solidFill>
                  <a:srgbClr val="000000"/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エントリーシート</a:t>
            </a:r>
            <a:endParaRPr lang="ja-JP" altLang="en-US" sz="1400" b="1" dirty="0">
              <a:solidFill>
                <a:prstClr val="black"/>
              </a:solidFill>
              <a:latin typeface="Yu Gothic" panose="020B0400000000000000" pitchFamily="34" charset="-128"/>
              <a:ea typeface="Yu Gothic" panose="020B0400000000000000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18487859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テキスト ボックス 2">
            <a:extLst>
              <a:ext uri="{FF2B5EF4-FFF2-40B4-BE49-F238E27FC236}">
                <a16:creationId xmlns:a16="http://schemas.microsoft.com/office/drawing/2014/main" id="{845E4B05-9DDD-9DF4-0971-83F43E54ABA9}"/>
              </a:ext>
            </a:extLst>
          </p:cNvPr>
          <p:cNvSpPr txBox="1"/>
          <p:nvPr/>
        </p:nvSpPr>
        <p:spPr>
          <a:xfrm>
            <a:off x="251665" y="94751"/>
            <a:ext cx="521809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418">
              <a:defRPr/>
            </a:pPr>
            <a:r>
              <a:rPr lang="ja-JP" altLang="en-US" sz="1400" b="1" dirty="0">
                <a:solidFill>
                  <a:srgbClr val="000000"/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キャリアオーナーシップ経営 </a:t>
            </a:r>
            <a:r>
              <a:rPr lang="en-US" altLang="ja-JP" sz="1400" b="1" dirty="0">
                <a:solidFill>
                  <a:srgbClr val="000000"/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AWARD 2025</a:t>
            </a:r>
            <a:r>
              <a:rPr lang="ja-JP" altLang="en-US" sz="1400" b="1" dirty="0">
                <a:solidFill>
                  <a:srgbClr val="000000"/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エントリーシート</a:t>
            </a:r>
            <a:endParaRPr lang="ja-JP" altLang="en-US" sz="1400" b="1" dirty="0">
              <a:solidFill>
                <a:prstClr val="black"/>
              </a:solidFill>
              <a:latin typeface="Yu Gothic" panose="020B0400000000000000" pitchFamily="34" charset="-128"/>
              <a:ea typeface="Yu Gothic" panose="020B0400000000000000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37293264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THINKCELLPRESENTATIONDONOTDELETE" val="&lt;?xml version=&quot;1.0&quot; encoding=&quot;UTF-16&quot; standalone=&quot;yes&quot;?&gt;&lt;root reqver=&quot;28224&quot;&gt;&lt;version val=&quot;35570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bNumberIsYear val=&quot;0&quot;/&gt;&lt;m_strFormatTime&gt;%m/%d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d&lt;/m_strFormatTime&gt;&lt;m_yearfmt&gt;&lt;begin val=&quot;0&quot;/&gt;&lt;end val=&quot;4&quot;/&gt;&lt;/m_yearfmt&gt;&lt;/m_precDefaultWeek&gt;&lt;m_precDefaultMonth&gt;&lt;m_bNumberIsYear val=&quot;0&quot;/&gt;&lt;m_strFormatTime&gt;%m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3&quot;&gt;&lt;elem m_fUsage=&quot;4.68559000000000036579E+00&quot;&gt;&lt;m_msothmcolidx val=&quot;0&quot;/&gt;&lt;m_rgb r=&quot;FF&quot; g=&quot;00&quot; b=&quot;00&quot;/&gt;&lt;/elem&gt;&lt;elem m_fUsage=&quot;9.61908210000000152284E-01&quot;&gt;&lt;m_msothmcolidx val=&quot;0&quot;/&gt;&lt;m_rgb r=&quot;D4&quot; g=&quot;18&quot; b=&quot;0D&quot;/&gt;&lt;/elem&gt;&lt;elem m_fUsage=&quot;4.78296900000000135833E-01&quot;&gt;&lt;m_msothmcolidx val=&quot;0&quot;/&gt;&lt;m_rgb r=&quot;E1&quot; g=&quot;34&quot; b=&quot;0E&quot;/&gt;&lt;/elem&gt;&lt;/m_vecMRU&gt;&lt;/m_mruColor&gt;&lt;m_eweekdayFirstOfWeek val=&quot;2&quot;/&gt;&lt;m_eweekdayFirstOfWorkweek val=&quot;2&quot;/&gt;&lt;m_eweekdayFirstOfWeekend val=&quot;7&quot;/&gt;&lt;/CPresentation&gt;&lt;/roo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テーマ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游ゴシック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游ゴシック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テーマ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游ゴシック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游ゴシック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4344c427-5f09-4408-b217-badd3d49278a">
      <Terms xmlns="http://schemas.microsoft.com/office/infopath/2007/PartnerControls"/>
    </lcf76f155ced4ddcb4097134ff3c332f>
    <TaxCatchAll xmlns="18737043-e87c-435f-aab9-0ee90519c653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ドキュメント" ma:contentTypeID="0x0101005C46BA58A296F7488017BBC04AF6B09F" ma:contentTypeVersion="13" ma:contentTypeDescription="新しいドキュメントを作成します。" ma:contentTypeScope="" ma:versionID="c4e068052e7ad80ee895e8f80187d0fa">
  <xsd:schema xmlns:xsd="http://www.w3.org/2001/XMLSchema" xmlns:xs="http://www.w3.org/2001/XMLSchema" xmlns:p="http://schemas.microsoft.com/office/2006/metadata/properties" xmlns:ns2="4344c427-5f09-4408-b217-badd3d49278a" xmlns:ns3="18737043-e87c-435f-aab9-0ee90519c653" targetNamespace="http://schemas.microsoft.com/office/2006/metadata/properties" ma:root="true" ma:fieldsID="d16188f023b84ebe81e5ca7e2f7b83bc" ns2:_="" ns3:_="">
    <xsd:import namespace="4344c427-5f09-4408-b217-badd3d49278a"/>
    <xsd:import namespace="18737043-e87c-435f-aab9-0ee90519c65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3:SharedWithUsers" minOccurs="0"/>
                <xsd:element ref="ns3:SharedWithDetails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344c427-5f09-4408-b217-badd3d49278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画像タグ" ma:readOnly="false" ma:fieldId="{5cf76f15-5ced-4ddc-b409-7134ff3c332f}" ma:taxonomyMulti="true" ma:sspId="785717d7-19ec-47d4-9288-ce56b1256bdc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bjectDetectorVersions" ma:index="19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0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8737043-e87c-435f-aab9-0ee90519c653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05110bb7-f7c8-48c6-b1dd-5fd9abe0c5ff}" ma:internalName="TaxCatchAll" ma:showField="CatchAllData" ma:web="18737043-e87c-435f-aab9-0ee90519c65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共有相手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共有相手の詳細情報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コンテンツ タイプ"/>
        <xsd:element ref="dc:title" minOccurs="0" maxOccurs="1" ma:index="4" ma:displayName="タイトル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06CCC9AD-6B93-4C83-B53D-F19706B457D2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030B044D-38A9-4865-B967-A7BE3D6C4B31}">
  <ds:schemaRefs>
    <ds:schemaRef ds:uri="4344c427-5f09-4408-b217-badd3d49278a"/>
    <ds:schemaRef ds:uri="http://purl.org/dc/terms/"/>
    <ds:schemaRef ds:uri="http://schemas.microsoft.com/office/infopath/2007/PartnerControls"/>
    <ds:schemaRef ds:uri="http://schemas.microsoft.com/office/2006/documentManagement/types"/>
    <ds:schemaRef ds:uri="http://purl.org/dc/elements/1.1/"/>
    <ds:schemaRef ds:uri="http://schemas.microsoft.com/office/2006/metadata/properties"/>
    <ds:schemaRef ds:uri="http://schemas.openxmlformats.org/package/2006/metadata/core-properties"/>
    <ds:schemaRef ds:uri="18737043-e87c-435f-aab9-0ee90519c653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AC41C2A2-AA2C-4EF0-AE97-5192D640B28B}">
  <ds:schemaRefs>
    <ds:schemaRef ds:uri="18737043-e87c-435f-aab9-0ee90519c653"/>
    <ds:schemaRef ds:uri="4344c427-5f09-4408-b217-badd3d49278a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241</TotalTime>
  <Words>332</Words>
  <Application>Microsoft Office PowerPoint</Application>
  <PresentationFormat>ワイド画面</PresentationFormat>
  <Paragraphs>44</Paragraphs>
  <Slides>5</Slides>
  <Notes>5</Notes>
  <HiddenSlides>0</HiddenSlides>
  <MMClips>0</MMClips>
  <ScaleCrop>false</ScaleCrop>
  <HeadingPairs>
    <vt:vector size="8" baseType="variant">
      <vt:variant>
        <vt:lpstr>使用されているフォント</vt:lpstr>
      </vt:variant>
      <vt:variant>
        <vt:i4>4</vt:i4>
      </vt:variant>
      <vt:variant>
        <vt:lpstr>テーマ</vt:lpstr>
      </vt:variant>
      <vt:variant>
        <vt:i4>1</vt:i4>
      </vt:variant>
      <vt:variant>
        <vt:lpstr>埋め込まれた OLE サーバー</vt:lpstr>
      </vt:variant>
      <vt:variant>
        <vt:i4>1</vt:i4>
      </vt:variant>
      <vt:variant>
        <vt:lpstr>スライド タイトル</vt:lpstr>
      </vt:variant>
      <vt:variant>
        <vt:i4>5</vt:i4>
      </vt:variant>
    </vt:vector>
  </HeadingPairs>
  <TitlesOfParts>
    <vt:vector size="11" baseType="lpstr">
      <vt:lpstr>游ゴシック</vt:lpstr>
      <vt:lpstr>游ゴシック</vt:lpstr>
      <vt:lpstr>游ゴシック Light</vt:lpstr>
      <vt:lpstr>Arial</vt:lpstr>
      <vt:lpstr>Office テーマ</vt:lpstr>
      <vt:lpstr>think-cell スライド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プレゼンテーション</dc:title>
  <dc:creator>電通</dc:creator>
  <cp:lastModifiedBy>飯塚　勤</cp:lastModifiedBy>
  <cp:revision>6</cp:revision>
  <dcterms:created xsi:type="dcterms:W3CDTF">2023-10-06T07:34:44Z</dcterms:created>
  <dcterms:modified xsi:type="dcterms:W3CDTF">2024-12-05T10:06:4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C46BA58A296F7488017BBC04AF6B09F</vt:lpwstr>
  </property>
  <property fmtid="{D5CDD505-2E9C-101B-9397-08002B2CF9AE}" pid="3" name="MediaServiceImageTags">
    <vt:lpwstr/>
  </property>
</Properties>
</file>